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1" r:id="rId3"/>
  </p:sldMasterIdLst>
  <p:notesMasterIdLst>
    <p:notesMasterId r:id="rId24"/>
  </p:notesMasterIdLst>
  <p:handoutMasterIdLst>
    <p:handoutMasterId r:id="rId25"/>
  </p:handoutMasterIdLst>
  <p:sldIdLst>
    <p:sldId id="307" r:id="rId4"/>
    <p:sldId id="365" r:id="rId5"/>
    <p:sldId id="366" r:id="rId6"/>
    <p:sldId id="368" r:id="rId7"/>
    <p:sldId id="375" r:id="rId8"/>
    <p:sldId id="369" r:id="rId9"/>
    <p:sldId id="376" r:id="rId10"/>
    <p:sldId id="370" r:id="rId11"/>
    <p:sldId id="377" r:id="rId12"/>
    <p:sldId id="371" r:id="rId13"/>
    <p:sldId id="378" r:id="rId14"/>
    <p:sldId id="372" r:id="rId15"/>
    <p:sldId id="379" r:id="rId16"/>
    <p:sldId id="380" r:id="rId17"/>
    <p:sldId id="381" r:id="rId18"/>
    <p:sldId id="383" r:id="rId19"/>
    <p:sldId id="384" r:id="rId20"/>
    <p:sldId id="385" r:id="rId21"/>
    <p:sldId id="386" r:id="rId22"/>
    <p:sldId id="311" r:id="rId23"/>
  </p:sldIdLst>
  <p:sldSz cx="12192000" cy="6858000"/>
  <p:notesSz cx="7104063" cy="10234613"/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53" autoAdjust="0"/>
    <p:restoredTop sz="96583" autoAdjust="0"/>
  </p:normalViewPr>
  <p:slideViewPr>
    <p:cSldViewPr snapToGrid="0">
      <p:cViewPr varScale="1">
        <p:scale>
          <a:sx n="110" d="100"/>
          <a:sy n="110" d="100"/>
        </p:scale>
        <p:origin x="552" y="9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8" d="100"/>
          <a:sy n="88" d="100"/>
        </p:scale>
        <p:origin x="4128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>
            <a:extLst>
              <a:ext uri="{FF2B5EF4-FFF2-40B4-BE49-F238E27FC236}">
                <a16:creationId xmlns:a16="http://schemas.microsoft.com/office/drawing/2014/main" id="{27E7334E-C57E-F12F-2050-2B59F94313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nl-NL" dirty="0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734149E5-32A4-1CE6-1868-1DB83269B36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51CE9E17-822A-4511-B900-5EB1C95C6BED}" type="datetimeFigureOut">
              <a:rPr lang="nl-NL" smtClean="0"/>
              <a:t>14-11-2023</a:t>
            </a:fld>
            <a:endParaRPr lang="nl-NL" dirty="0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C8E1A589-2986-FBF3-8FAC-18D9570C8E7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nl-NL" dirty="0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EFE43C04-DA04-CAD9-0045-452FC0F436B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A8F856E7-849D-4D6C-93FF-D7767E8D4DA5}" type="slidenum">
              <a:rPr lang="nl-NL" smtClean="0"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868352271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3224" userDrawn="1">
          <p15:clr>
            <a:srgbClr val="F26B43"/>
          </p15:clr>
        </p15:guide>
        <p15:guide id="2" pos="2238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nl-NL" dirty="0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5580493E-0119-4244-A694-261230B50ED0}" type="datetimeFigureOut">
              <a:rPr lang="nl-NL" smtClean="0"/>
              <a:t>14-11-2023</a:t>
            </a:fld>
            <a:endParaRPr lang="nl-NL" dirty="0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nl-NL" dirty="0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nl-NL" dirty="0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80CB5994-2046-43A4-B589-BD43AE27F490}" type="slidenum">
              <a:rPr lang="nl-NL" smtClean="0"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7437379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3224" userDrawn="1">
          <p15:clr>
            <a:srgbClr val="F26B43"/>
          </p15:clr>
        </p15:guide>
        <p15:guide id="2" pos="2238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CB5994-2046-43A4-B589-BD43AE27F490}" type="slidenum">
              <a:rPr lang="nl-NL" smtClean="0"/>
              <a:t>1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6070422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6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7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8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9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8">
            <a:extLst>
              <a:ext uri="{FF2B5EF4-FFF2-40B4-BE49-F238E27FC236}">
                <a16:creationId xmlns:a16="http://schemas.microsoft.com/office/drawing/2014/main" id="{2FBCE785-8EF0-8904-6B83-D65A5BBD1BC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915798"/>
            <a:ext cx="12192000" cy="4119498"/>
          </a:xfrm>
          <a:solidFill>
            <a:schemeClr val="bg1">
              <a:lumMod val="95000"/>
            </a:schemeClr>
          </a:solidFill>
        </p:spPr>
        <p:txBody>
          <a:bodyPr lIns="6840000" bIns="0" anchor="ctr" anchorCtr="0"/>
          <a:lstStyle>
            <a:lvl1pPr marL="0" indent="0" algn="l">
              <a:buNone/>
              <a:defRPr sz="1200"/>
            </a:lvl1pPr>
          </a:lstStyle>
          <a:p>
            <a:r>
              <a:rPr lang="en-GB" dirty="0"/>
              <a:t>TO INSERT AN IMAGE: </a:t>
            </a:r>
            <a:br>
              <a:rPr lang="en-GB" dirty="0"/>
            </a:br>
            <a:r>
              <a:rPr lang="en-GB" dirty="0"/>
              <a:t>SELECT THIS GREY AREA </a:t>
            </a:r>
            <a:br>
              <a:rPr lang="en-GB" dirty="0"/>
            </a:br>
            <a:r>
              <a:rPr lang="en-GB" dirty="0"/>
              <a:t>CLICK IN THE RIBBON ON 'INSERT' - 'PICTURES’ </a:t>
            </a:r>
            <a:br>
              <a:rPr lang="en-GB" dirty="0"/>
            </a:br>
            <a:r>
              <a:rPr lang="en-GB" dirty="0"/>
              <a:t>SELECT A PHOTO OR IMAGE VIA THE EXPLORER AND CLICK ON 'INSERT' </a:t>
            </a:r>
          </a:p>
        </p:txBody>
      </p:sp>
      <p:sp>
        <p:nvSpPr>
          <p:cNvPr id="16" name="Tijdelijke aanduiding voor tekst 15">
            <a:extLst>
              <a:ext uri="{FF2B5EF4-FFF2-40B4-BE49-F238E27FC236}">
                <a16:creationId xmlns:a16="http://schemas.microsoft.com/office/drawing/2014/main" id="{DEF768A8-2C27-F83C-D109-5930CE3406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0641" y="783273"/>
            <a:ext cx="6065293" cy="5599566"/>
          </a:xfrm>
          <a:custGeom>
            <a:avLst/>
            <a:gdLst>
              <a:gd name="connsiteX0" fmla="*/ 1688624 w 6065293"/>
              <a:gd name="connsiteY0" fmla="*/ 0 h 5599566"/>
              <a:gd name="connsiteX1" fmla="*/ 6038432 w 6065293"/>
              <a:gd name="connsiteY1" fmla="*/ 0 h 5599566"/>
              <a:gd name="connsiteX2" fmla="*/ 6065293 w 6065293"/>
              <a:gd name="connsiteY2" fmla="*/ 2486524 h 5599566"/>
              <a:gd name="connsiteX3" fmla="*/ 5009672 w 6065293"/>
              <a:gd name="connsiteY3" fmla="*/ 5599566 h 5599566"/>
              <a:gd name="connsiteX4" fmla="*/ 0 w 6065293"/>
              <a:gd name="connsiteY4" fmla="*/ 5599566 h 5599566"/>
              <a:gd name="connsiteX5" fmla="*/ 0 w 6065293"/>
              <a:gd name="connsiteY5" fmla="*/ 2131 h 55995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65293" h="5599566">
                <a:moveTo>
                  <a:pt x="1688624" y="0"/>
                </a:moveTo>
                <a:lnTo>
                  <a:pt x="6038432" y="0"/>
                </a:lnTo>
                <a:lnTo>
                  <a:pt x="6065293" y="2486524"/>
                </a:lnTo>
                <a:lnTo>
                  <a:pt x="5009672" y="5599566"/>
                </a:lnTo>
                <a:lnTo>
                  <a:pt x="0" y="5599566"/>
                </a:lnTo>
                <a:lnTo>
                  <a:pt x="0" y="2131"/>
                </a:lnTo>
                <a:close/>
              </a:path>
            </a:pathLst>
          </a:custGeom>
          <a:gradFill>
            <a:gsLst>
              <a:gs pos="0">
                <a:schemeClr val="accent1">
                  <a:alpha val="80000"/>
                </a:schemeClr>
              </a:gs>
              <a:gs pos="100000">
                <a:schemeClr val="accent1">
                  <a:alpha val="5000"/>
                </a:schemeClr>
              </a:gs>
            </a:gsLst>
            <a:lin ang="0" scaled="1"/>
          </a:gradFill>
        </p:spPr>
        <p:txBody>
          <a:bodyPr wrap="square" anchor="ctr" anchorCtr="1">
            <a:noAutofit/>
          </a:bodyPr>
          <a:lstStyle>
            <a:lvl1pPr marL="0" indent="0" algn="ctr">
              <a:buNone/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 </a:t>
            </a:r>
            <a:endParaRPr lang="en-GB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2497AA1-237C-74EC-3C33-0BD62480FC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338853" y="87222"/>
            <a:ext cx="2442741" cy="70144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1D4136CC-DB6B-CAB7-8C63-487DED392CF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55700" y="5196414"/>
            <a:ext cx="10377488" cy="263149"/>
          </a:xfrm>
        </p:spPr>
        <p:txBody>
          <a:bodyPr anchor="t" anchorCtr="0"/>
          <a:lstStyle>
            <a:lvl1pPr algn="l">
              <a:defRPr sz="1900" b="1">
                <a:solidFill>
                  <a:schemeClr val="tx1"/>
                </a:solidFill>
              </a:defRPr>
            </a:lvl1pPr>
          </a:lstStyle>
          <a:p>
            <a:r>
              <a:rPr lang="en-GB"/>
              <a:t>Presentation title</a:t>
            </a:r>
            <a:endParaRPr lang="en-GB" dirty="0"/>
          </a:p>
        </p:txBody>
      </p:sp>
      <p:sp>
        <p:nvSpPr>
          <p:cNvPr id="5" name="Tijdelijke aanduiding voor tekst 2">
            <a:extLst>
              <a:ext uri="{FF2B5EF4-FFF2-40B4-BE49-F238E27FC236}">
                <a16:creationId xmlns:a16="http://schemas.microsoft.com/office/drawing/2014/main" id="{E477FFF2-9580-D94C-B3F4-58CEE9C00971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155700" y="5816900"/>
            <a:ext cx="10378800" cy="252826"/>
          </a:xfrm>
        </p:spPr>
        <p:txBody>
          <a:bodyPr anchor="t" anchorCtr="0">
            <a:sp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Document type | Place and date</a:t>
            </a:r>
            <a:endParaRPr lang="en-GB" dirty="0"/>
          </a:p>
        </p:txBody>
      </p:sp>
      <p:sp>
        <p:nvSpPr>
          <p:cNvPr id="4" name="Tijdelijke aanduiding voor tekst 2">
            <a:extLst>
              <a:ext uri="{FF2B5EF4-FFF2-40B4-BE49-F238E27FC236}">
                <a16:creationId xmlns:a16="http://schemas.microsoft.com/office/drawing/2014/main" id="{1C75759E-8ECB-C5A4-AC5E-D4078B6589B9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1163173" y="1146991"/>
            <a:ext cx="4320000" cy="747897"/>
          </a:xfrm>
        </p:spPr>
        <p:txBody>
          <a:bodyPr anchor="t" anchorCtr="0">
            <a:spAutoFit/>
          </a:bodyPr>
          <a:lstStyle>
            <a:lvl1pPr marL="0" indent="0">
              <a:lnSpc>
                <a:spcPct val="90000"/>
              </a:lnSpc>
              <a:buNone/>
              <a:defRPr sz="5400" b="0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163345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3">
          <p15:clr>
            <a:srgbClr val="FBAE40"/>
          </p15:clr>
        </p15:guide>
        <p15:guide id="2" pos="768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5772B4-9AEC-5F23-2319-4815B56EAE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3" y="1053973"/>
            <a:ext cx="8280000" cy="470898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Title</a:t>
            </a:r>
            <a:endParaRPr lang="en-GB" dirty="0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3074CF84-1E49-3731-23C3-89110C59001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58813" y="2097088"/>
            <a:ext cx="8280000" cy="4284662"/>
          </a:xfrm>
        </p:spPr>
        <p:txBody>
          <a:bodyPr/>
          <a:lstStyle/>
          <a:p>
            <a:r>
              <a:rPr lang="en-GB"/>
              <a:t>Type your text here, or insert one of the other types of content, such as a chart or table, by clicking on the corresponding icon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99F8DBFD-EDD6-B79D-0E15-9CA6E574A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esentation name</a:t>
            </a:r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6F634622-577B-58BD-CBF8-CBB17F1B7F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68079" y="6557979"/>
            <a:ext cx="165109" cy="153888"/>
          </a:xfrm>
        </p:spPr>
        <p:txBody>
          <a:bodyPr/>
          <a:lstStyle/>
          <a:p>
            <a:fld id="{08695EC5-0A0B-43EA-AE57-9F63CF72E121}" type="slidenum">
              <a:rPr lang="en-GB" smtClean="0"/>
              <a:t>‹nr.›</a:t>
            </a:fld>
            <a:endParaRPr lang="en-GB" dirty="0"/>
          </a:p>
        </p:txBody>
      </p:sp>
      <p:sp>
        <p:nvSpPr>
          <p:cNvPr id="9" name="Tijdelijke aanduiding voor afbeelding 8">
            <a:extLst>
              <a:ext uri="{FF2B5EF4-FFF2-40B4-BE49-F238E27FC236}">
                <a16:creationId xmlns:a16="http://schemas.microsoft.com/office/drawing/2014/main" id="{5F04ACB2-ED28-547E-8759-B1A679CBB25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278483" y="916088"/>
            <a:ext cx="2913517" cy="5465662"/>
          </a:xfrm>
          <a:solidFill>
            <a:schemeClr val="bg1">
              <a:lumMod val="95000"/>
            </a:schemeClr>
          </a:solidFill>
        </p:spPr>
        <p:txBody>
          <a:bodyPr bIns="1296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BB78F279-B4E6-A6CE-E8BC-DCAE76FFF114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58813" y="1592263"/>
            <a:ext cx="8280000" cy="284437"/>
          </a:xfrm>
        </p:spPr>
        <p:txBody>
          <a:bodyPr wrap="square" anchor="t" anchorCtr="0">
            <a:sp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971354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20" userDrawn="1">
          <p15:clr>
            <a:srgbClr val="FBAE40"/>
          </p15:clr>
        </p15:guide>
        <p15:guide id="2" orient="horz" pos="1321" userDrawn="1">
          <p15:clr>
            <a:srgbClr val="FBAE40"/>
          </p15:clr>
        </p15:guide>
        <p15:guide id="3" orient="horz" pos="1003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1113225-F2A0-10BA-5972-F7F66AC9AB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Title</a:t>
            </a:r>
            <a:endParaRPr lang="en-GB" dirty="0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6860BD28-6535-837A-EA79-0A9A46ED29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esentation name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C08135D8-B955-5AB7-FAEE-433DBA980D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68079" y="6557979"/>
            <a:ext cx="165109" cy="153888"/>
          </a:xfrm>
        </p:spPr>
        <p:txBody>
          <a:bodyPr/>
          <a:lstStyle/>
          <a:p>
            <a:fld id="{08695EC5-0A0B-43EA-AE57-9F63CF72E121}" type="slidenum">
              <a:rPr lang="en-GB" smtClean="0"/>
              <a:t>‹nr.›</a:t>
            </a:fld>
            <a:endParaRPr lang="en-GB" dirty="0"/>
          </a:p>
        </p:txBody>
      </p:sp>
      <p:sp>
        <p:nvSpPr>
          <p:cNvPr id="6" name="Tijdelijke aanduiding voor tekst 4">
            <a:extLst>
              <a:ext uri="{FF2B5EF4-FFF2-40B4-BE49-F238E27FC236}">
                <a16:creationId xmlns:a16="http://schemas.microsoft.com/office/drawing/2014/main" id="{EAECBCEB-F1CE-06A5-F453-B8D9079B5014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58813" y="1592263"/>
            <a:ext cx="10875600" cy="284437"/>
          </a:xfrm>
        </p:spPr>
        <p:txBody>
          <a:bodyPr wrap="square" anchor="t" anchorCtr="0">
            <a:sp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85354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104559E7-4E2E-F512-5518-3D8E69AD76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esentation name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C9EFE843-8904-B8B7-E4C7-8412F44B25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68079" y="6603699"/>
            <a:ext cx="165109" cy="153888"/>
          </a:xfrm>
        </p:spPr>
        <p:txBody>
          <a:bodyPr/>
          <a:lstStyle/>
          <a:p>
            <a:fld id="{08695EC5-0A0B-43EA-AE57-9F63CF72E121}" type="slidenum">
              <a:rPr lang="en-GB" smtClean="0"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031360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hoek 9">
            <a:extLst>
              <a:ext uri="{FF2B5EF4-FFF2-40B4-BE49-F238E27FC236}">
                <a16:creationId xmlns:a16="http://schemas.microsoft.com/office/drawing/2014/main" id="{2D26528D-ED03-8003-6B8B-2A14B521F5F9}"/>
              </a:ext>
            </a:extLst>
          </p:cNvPr>
          <p:cNvSpPr/>
          <p:nvPr userDrawn="1"/>
        </p:nvSpPr>
        <p:spPr>
          <a:xfrm>
            <a:off x="0" y="5393803"/>
            <a:ext cx="12192000" cy="146419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9" name="Tijdelijke aanduiding voor afbeelding 8">
            <a:extLst>
              <a:ext uri="{FF2B5EF4-FFF2-40B4-BE49-F238E27FC236}">
                <a16:creationId xmlns:a16="http://schemas.microsoft.com/office/drawing/2014/main" id="{CE7C6C86-7776-7891-05EB-13475DDB1CF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903603"/>
            <a:ext cx="12192000" cy="4536000"/>
          </a:xfrm>
          <a:solidFill>
            <a:schemeClr val="bg1">
              <a:lumMod val="95000"/>
            </a:schemeClr>
          </a:solidFill>
        </p:spPr>
        <p:txBody>
          <a:bodyPr bIns="1296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dirty="0"/>
              <a:t>CLICK ICON TO ADD PICTURE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C30C3087-DDA8-9163-9AAB-06577E2424F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555284" y="6075681"/>
            <a:ext cx="5636716" cy="782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7221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itleg template - N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2124B7D-5DA6-4A3C-8A4F-822317CB3A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9746469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2124B7D-5DA6-4A3C-8A4F-822317CB3A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:a16="http://schemas.microsoft.com/office/drawing/2014/main" id="{8A291EAA-F6DA-4CC6-A0B3-CF6F17297E7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100" b="1" i="0" baseline="0" dirty="0">
              <a:latin typeface="Grandview" panose="020B0502040204020203" pitchFamily="34" charset="0"/>
              <a:ea typeface="+mj-ea"/>
              <a:cs typeface="+mj-cs"/>
              <a:sym typeface="Montserrat" panose="00000500000000000000" pitchFamily="2" charset="0"/>
            </a:endParaRPr>
          </a:p>
        </p:txBody>
      </p:sp>
      <p:pic>
        <p:nvPicPr>
          <p:cNvPr id="20" name="Afbeelding 19">
            <a:extLst>
              <a:ext uri="{FF2B5EF4-FFF2-40B4-BE49-F238E27FC236}">
                <a16:creationId xmlns:a16="http://schemas.microsoft.com/office/drawing/2014/main" id="{4F17E6D9-34B8-42E5-B385-2212F49EB94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27672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itleg template - N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2124B7D-5DA6-4A3C-8A4F-822317CB3A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9746469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2124B7D-5DA6-4A3C-8A4F-822317CB3A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:a16="http://schemas.microsoft.com/office/drawing/2014/main" id="{8A291EAA-F6DA-4CC6-A0B3-CF6F17297E7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100" b="1" i="0" baseline="0" dirty="0">
              <a:latin typeface="Grandview" panose="020B0502040204020203" pitchFamily="34" charset="0"/>
              <a:ea typeface="+mj-ea"/>
              <a:cs typeface="+mj-cs"/>
              <a:sym typeface="Montserrat" panose="00000500000000000000" pitchFamily="2" charset="0"/>
            </a:endParaRPr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F200660D-D53B-E52D-5FE5-E858BD8454D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1406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xplanation template - U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2124B7D-5DA6-4A3C-8A4F-822317CB3A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9746469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2124B7D-5DA6-4A3C-8A4F-822317CB3A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:a16="http://schemas.microsoft.com/office/drawing/2014/main" id="{8A291EAA-F6DA-4CC6-A0B3-CF6F17297E7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100" b="1" i="0" baseline="0" dirty="0">
              <a:latin typeface="Grandview" panose="020B0502040204020203" pitchFamily="34" charset="0"/>
              <a:ea typeface="+mj-ea"/>
              <a:cs typeface="+mj-cs"/>
              <a:sym typeface="Montserrat" panose="00000500000000000000" pitchFamily="2" charset="0"/>
            </a:endParaRPr>
          </a:p>
        </p:txBody>
      </p:sp>
      <p:pic>
        <p:nvPicPr>
          <p:cNvPr id="10" name="Afbeelding 9">
            <a:extLst>
              <a:ext uri="{FF2B5EF4-FFF2-40B4-BE49-F238E27FC236}">
                <a16:creationId xmlns:a16="http://schemas.microsoft.com/office/drawing/2014/main" id="{618CCDB5-5CF5-0460-A885-6FCCD5E0C3C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87270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itleg template - U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2124B7D-5DA6-4A3C-8A4F-822317CB3A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9746469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2124B7D-5DA6-4A3C-8A4F-822317CB3A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:a16="http://schemas.microsoft.com/office/drawing/2014/main" id="{8A291EAA-F6DA-4CC6-A0B3-CF6F17297E7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100" b="1" i="0" baseline="0" dirty="0">
              <a:latin typeface="Grandview" panose="020B0502040204020203" pitchFamily="34" charset="0"/>
              <a:ea typeface="+mj-ea"/>
              <a:cs typeface="+mj-cs"/>
              <a:sym typeface="Montserrat" panose="00000500000000000000" pitchFamily="2" charset="0"/>
            </a:endParaRPr>
          </a:p>
        </p:txBody>
      </p:sp>
      <p:pic>
        <p:nvPicPr>
          <p:cNvPr id="10" name="Afbeelding 9">
            <a:extLst>
              <a:ext uri="{FF2B5EF4-FFF2-40B4-BE49-F238E27FC236}">
                <a16:creationId xmlns:a16="http://schemas.microsoft.com/office/drawing/2014/main" id="{E50EC23A-067F-C3D3-8B8A-BF18721F71C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81002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24951FDB-0030-A215-3E6A-D8FBB0147C8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55700" y="1101866"/>
            <a:ext cx="9872664" cy="706347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400" b="0">
                <a:solidFill>
                  <a:schemeClr val="accent1"/>
                </a:solidFill>
              </a:defRPr>
            </a:lvl1pPr>
          </a:lstStyle>
          <a:p>
            <a:r>
              <a:rPr lang="nl-NL"/>
              <a:t>Presentation title</a:t>
            </a:r>
          </a:p>
        </p:txBody>
      </p:sp>
      <p:sp>
        <p:nvSpPr>
          <p:cNvPr id="4" name="Tijdelijke aanduiding voor afbeelding 8">
            <a:extLst>
              <a:ext uri="{FF2B5EF4-FFF2-40B4-BE49-F238E27FC236}">
                <a16:creationId xmlns:a16="http://schemas.microsoft.com/office/drawing/2014/main" id="{4D852DA1-723D-4B9B-BBBE-262DF4BECE4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58812" y="2676526"/>
            <a:ext cx="11533188" cy="3420000"/>
          </a:xfrm>
          <a:solidFill>
            <a:schemeClr val="bg1">
              <a:lumMod val="95000"/>
            </a:schemeClr>
          </a:solidFill>
        </p:spPr>
        <p:txBody>
          <a:bodyPr bIns="1296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dirty="0"/>
              <a:t>CLICK ICON TO ADD PICTURE</a:t>
            </a:r>
            <a:endParaRPr lang="nl-NL" dirty="0"/>
          </a:p>
        </p:txBody>
      </p:sp>
      <p:sp>
        <p:nvSpPr>
          <p:cNvPr id="5" name="Tijdelijke aanduiding voor tekst 2">
            <a:extLst>
              <a:ext uri="{FF2B5EF4-FFF2-40B4-BE49-F238E27FC236}">
                <a16:creationId xmlns:a16="http://schemas.microsoft.com/office/drawing/2014/main" id="{68E0520D-2DC7-4588-F523-D484D0BDCDB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155700" y="6342110"/>
            <a:ext cx="10378800" cy="276999"/>
          </a:xfrm>
        </p:spPr>
        <p:txBody>
          <a:bodyPr anchor="ctr" anchorCtr="0">
            <a:spAutoFit/>
          </a:bodyPr>
          <a:lstStyle>
            <a:lvl1pPr marL="0" indent="0">
              <a:lnSpc>
                <a:spcPct val="100000"/>
              </a:lnSpc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Document type | Place and 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938436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3">
          <p15:clr>
            <a:srgbClr val="FBAE40"/>
          </p15:clr>
        </p15:guide>
        <p15:guide id="2" pos="6947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FD3D8145-DD03-49A6-C098-ADB0A4FE531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55700" y="1101866"/>
            <a:ext cx="9872664" cy="706347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400" b="0">
                <a:solidFill>
                  <a:schemeClr val="accent1"/>
                </a:solidFill>
              </a:defRPr>
            </a:lvl1pPr>
          </a:lstStyle>
          <a:p>
            <a:r>
              <a:rPr lang="nl-NL"/>
              <a:t>Presentation title</a:t>
            </a:r>
          </a:p>
        </p:txBody>
      </p:sp>
      <p:sp>
        <p:nvSpPr>
          <p:cNvPr id="4" name="Tijdelijke aanduiding voor afbeelding 8">
            <a:extLst>
              <a:ext uri="{FF2B5EF4-FFF2-40B4-BE49-F238E27FC236}">
                <a16:creationId xmlns:a16="http://schemas.microsoft.com/office/drawing/2014/main" id="{3838E5B7-008C-B922-A82E-8F0758F3CE0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2676526"/>
            <a:ext cx="12192000" cy="3420000"/>
          </a:xfrm>
          <a:solidFill>
            <a:schemeClr val="bg1">
              <a:lumMod val="95000"/>
            </a:schemeClr>
          </a:solidFill>
        </p:spPr>
        <p:txBody>
          <a:bodyPr bIns="1296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dirty="0"/>
              <a:t>CLICK ICON TO ADD PICTURE</a:t>
            </a:r>
            <a:endParaRPr lang="nl-NL" dirty="0"/>
          </a:p>
        </p:txBody>
      </p:sp>
      <p:sp>
        <p:nvSpPr>
          <p:cNvPr id="5" name="Tijdelijke aanduiding voor tekst 2">
            <a:extLst>
              <a:ext uri="{FF2B5EF4-FFF2-40B4-BE49-F238E27FC236}">
                <a16:creationId xmlns:a16="http://schemas.microsoft.com/office/drawing/2014/main" id="{3CB8E7BA-E614-CBE7-21CC-B8334119857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155700" y="6342110"/>
            <a:ext cx="10378800" cy="276999"/>
          </a:xfrm>
        </p:spPr>
        <p:txBody>
          <a:bodyPr anchor="ctr" anchorCtr="0">
            <a:spAutoFit/>
          </a:bodyPr>
          <a:lstStyle>
            <a:lvl1pPr marL="0" indent="0">
              <a:lnSpc>
                <a:spcPct val="100000"/>
              </a:lnSpc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Document type | Place and 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852854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3">
          <p15:clr>
            <a:srgbClr val="FBAE40"/>
          </p15:clr>
        </p15:guide>
        <p15:guide id="2" pos="694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D4136CC-DB6B-CAB7-8C63-487DED392CF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55700" y="1101866"/>
            <a:ext cx="9872664" cy="706347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400" b="0">
                <a:solidFill>
                  <a:schemeClr val="accent1"/>
                </a:solidFill>
              </a:defRPr>
            </a:lvl1pPr>
          </a:lstStyle>
          <a:p>
            <a:r>
              <a:rPr lang="en-GB"/>
              <a:t>Presentation title</a:t>
            </a:r>
            <a:endParaRPr lang="en-GB" dirty="0"/>
          </a:p>
        </p:txBody>
      </p:sp>
      <p:sp>
        <p:nvSpPr>
          <p:cNvPr id="8" name="Tijdelijke aanduiding voor afbeelding 8">
            <a:extLst>
              <a:ext uri="{FF2B5EF4-FFF2-40B4-BE49-F238E27FC236}">
                <a16:creationId xmlns:a16="http://schemas.microsoft.com/office/drawing/2014/main" id="{2FBCE785-8EF0-8904-6B83-D65A5BBD1BC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58812" y="2676526"/>
            <a:ext cx="11533188" cy="3420000"/>
          </a:xfrm>
          <a:solidFill>
            <a:schemeClr val="bg1">
              <a:lumMod val="95000"/>
            </a:schemeClr>
          </a:solidFill>
        </p:spPr>
        <p:txBody>
          <a:bodyPr bIns="1296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4" name="Tijdelijke aanduiding voor tekst 2">
            <a:extLst>
              <a:ext uri="{FF2B5EF4-FFF2-40B4-BE49-F238E27FC236}">
                <a16:creationId xmlns:a16="http://schemas.microsoft.com/office/drawing/2014/main" id="{8447EC28-84BF-D9A7-13C2-158BD972769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155700" y="6342110"/>
            <a:ext cx="10378800" cy="276999"/>
          </a:xfrm>
        </p:spPr>
        <p:txBody>
          <a:bodyPr anchor="ctr" anchorCtr="0">
            <a:spAutoFit/>
          </a:bodyPr>
          <a:lstStyle>
            <a:lvl1pPr marL="0" indent="0">
              <a:lnSpc>
                <a:spcPct val="100000"/>
              </a:lnSpc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Document type | Place and 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736524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3" userDrawn="1">
          <p15:clr>
            <a:srgbClr val="FBAE40"/>
          </p15:clr>
        </p15:guide>
        <p15:guide id="2" pos="6947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8">
            <a:extLst>
              <a:ext uri="{FF2B5EF4-FFF2-40B4-BE49-F238E27FC236}">
                <a16:creationId xmlns:a16="http://schemas.microsoft.com/office/drawing/2014/main" id="{2FBCE785-8EF0-8904-6B83-D65A5BBD1BC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915798"/>
            <a:ext cx="12192000" cy="4119498"/>
          </a:xfrm>
          <a:solidFill>
            <a:schemeClr val="bg1">
              <a:lumMod val="95000"/>
            </a:schemeClr>
          </a:solidFill>
        </p:spPr>
        <p:txBody>
          <a:bodyPr lIns="6840000" bIns="0" anchor="ctr" anchorCtr="0"/>
          <a:lstStyle>
            <a:lvl1pPr marL="0" indent="0" algn="l">
              <a:buNone/>
              <a:defRPr sz="1200"/>
            </a:lvl1pPr>
          </a:lstStyle>
          <a:p>
            <a:r>
              <a:rPr lang="en-GB" dirty="0"/>
              <a:t>TO INSERT AN IMAGE: </a:t>
            </a:r>
            <a:br>
              <a:rPr lang="en-GB" dirty="0"/>
            </a:br>
            <a:r>
              <a:rPr lang="en-GB" dirty="0"/>
              <a:t>SELECT THIS GREY AREA </a:t>
            </a:r>
            <a:br>
              <a:rPr lang="en-GB" dirty="0"/>
            </a:br>
            <a:r>
              <a:rPr lang="en-GB" dirty="0"/>
              <a:t>CLICK IN THE RIBBON ON 'INSERT' - 'PICTURES’ </a:t>
            </a:r>
            <a:br>
              <a:rPr lang="en-GB" dirty="0"/>
            </a:br>
            <a:r>
              <a:rPr lang="en-GB" dirty="0"/>
              <a:t>SELECT A PHOTO OR IMAGE VIA THE EXPLORER AND CLICK ON 'INSERT' </a:t>
            </a:r>
          </a:p>
        </p:txBody>
      </p:sp>
      <p:sp>
        <p:nvSpPr>
          <p:cNvPr id="16" name="Tijdelijke aanduiding voor tekst 15">
            <a:extLst>
              <a:ext uri="{FF2B5EF4-FFF2-40B4-BE49-F238E27FC236}">
                <a16:creationId xmlns:a16="http://schemas.microsoft.com/office/drawing/2014/main" id="{DEF768A8-2C27-F83C-D109-5930CE3406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0641" y="783273"/>
            <a:ext cx="6065293" cy="5599566"/>
          </a:xfrm>
          <a:custGeom>
            <a:avLst/>
            <a:gdLst>
              <a:gd name="connsiteX0" fmla="*/ 1688624 w 6065293"/>
              <a:gd name="connsiteY0" fmla="*/ 0 h 5599566"/>
              <a:gd name="connsiteX1" fmla="*/ 6038432 w 6065293"/>
              <a:gd name="connsiteY1" fmla="*/ 0 h 5599566"/>
              <a:gd name="connsiteX2" fmla="*/ 6065293 w 6065293"/>
              <a:gd name="connsiteY2" fmla="*/ 2486524 h 5599566"/>
              <a:gd name="connsiteX3" fmla="*/ 5009672 w 6065293"/>
              <a:gd name="connsiteY3" fmla="*/ 5599566 h 5599566"/>
              <a:gd name="connsiteX4" fmla="*/ 0 w 6065293"/>
              <a:gd name="connsiteY4" fmla="*/ 5599566 h 5599566"/>
              <a:gd name="connsiteX5" fmla="*/ 0 w 6065293"/>
              <a:gd name="connsiteY5" fmla="*/ 2131 h 55995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65293" h="5599566">
                <a:moveTo>
                  <a:pt x="1688624" y="0"/>
                </a:moveTo>
                <a:lnTo>
                  <a:pt x="6038432" y="0"/>
                </a:lnTo>
                <a:lnTo>
                  <a:pt x="6065293" y="2486524"/>
                </a:lnTo>
                <a:lnTo>
                  <a:pt x="5009672" y="5599566"/>
                </a:lnTo>
                <a:lnTo>
                  <a:pt x="0" y="5599566"/>
                </a:lnTo>
                <a:lnTo>
                  <a:pt x="0" y="2131"/>
                </a:lnTo>
                <a:close/>
              </a:path>
            </a:pathLst>
          </a:custGeom>
          <a:gradFill>
            <a:gsLst>
              <a:gs pos="0">
                <a:schemeClr val="accent3">
                  <a:alpha val="70000"/>
                </a:schemeClr>
              </a:gs>
              <a:gs pos="100000">
                <a:schemeClr val="accent3">
                  <a:alpha val="5000"/>
                </a:schemeClr>
              </a:gs>
            </a:gsLst>
            <a:lin ang="0" scaled="1"/>
          </a:gradFill>
        </p:spPr>
        <p:txBody>
          <a:bodyPr wrap="square" anchor="ctr" anchorCtr="1">
            <a:noAutofit/>
          </a:bodyPr>
          <a:lstStyle>
            <a:lvl1pPr marL="0" indent="0" algn="ctr">
              <a:buNone/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/>
              <a:t> 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2497AA1-237C-74EC-3C33-0BD62480FC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338853" y="87222"/>
            <a:ext cx="2442741" cy="701448"/>
          </a:xfrm>
          <a:prstGeom prst="rect">
            <a:avLst/>
          </a:prstGeom>
        </p:spPr>
      </p:pic>
      <p:sp>
        <p:nvSpPr>
          <p:cNvPr id="4" name="Titel 1">
            <a:extLst>
              <a:ext uri="{FF2B5EF4-FFF2-40B4-BE49-F238E27FC236}">
                <a16:creationId xmlns:a16="http://schemas.microsoft.com/office/drawing/2014/main" id="{C27280A6-9F58-6375-E865-E15C94C2E83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55700" y="5196414"/>
            <a:ext cx="10377488" cy="263149"/>
          </a:xfrm>
        </p:spPr>
        <p:txBody>
          <a:bodyPr anchor="t" anchorCtr="0"/>
          <a:lstStyle>
            <a:lvl1pPr algn="l">
              <a:defRPr sz="1900" b="1">
                <a:solidFill>
                  <a:schemeClr val="accent1"/>
                </a:solidFill>
              </a:defRPr>
            </a:lvl1pPr>
          </a:lstStyle>
          <a:p>
            <a:r>
              <a:rPr lang="nl-NL"/>
              <a:t>Presentation title</a:t>
            </a:r>
          </a:p>
        </p:txBody>
      </p:sp>
      <p:sp>
        <p:nvSpPr>
          <p:cNvPr id="5" name="Tijdelijke aanduiding voor tekst 2">
            <a:extLst>
              <a:ext uri="{FF2B5EF4-FFF2-40B4-BE49-F238E27FC236}">
                <a16:creationId xmlns:a16="http://schemas.microsoft.com/office/drawing/2014/main" id="{5FC07E4B-3AEE-2746-B4D5-54597B17608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155700" y="5816900"/>
            <a:ext cx="10378800" cy="252826"/>
          </a:xfrm>
        </p:spPr>
        <p:txBody>
          <a:bodyPr anchor="t" anchorCtr="0">
            <a:sp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Document type | Place and 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210008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3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5772B4-9AEC-5F23-2319-4815B56EAE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3" y="1053973"/>
            <a:ext cx="6051600" cy="470898"/>
          </a:xfrm>
        </p:spPr>
        <p:txBody>
          <a:bodyPr/>
          <a:lstStyle>
            <a:lvl1pPr>
              <a:defRPr/>
            </a:lvl1pPr>
          </a:lstStyle>
          <a:p>
            <a:r>
              <a:rPr lang="nl-NL"/>
              <a:t>Title</a:t>
            </a:r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99F8DBFD-EDD6-B79D-0E15-9CA6E574A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Presentation name</a:t>
            </a:r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6F634622-577B-58BD-CBF8-CBB17F1B7F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695EC5-0A0B-43EA-AE57-9F63CF72E121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9" name="Tijdelijke aanduiding voor afbeelding 8">
            <a:extLst>
              <a:ext uri="{FF2B5EF4-FFF2-40B4-BE49-F238E27FC236}">
                <a16:creationId xmlns:a16="http://schemas.microsoft.com/office/drawing/2014/main" id="{5F04ACB2-ED28-547E-8759-B1A679CBB25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936000" y="916088"/>
            <a:ext cx="5256000" cy="5465662"/>
          </a:xfrm>
          <a:solidFill>
            <a:schemeClr val="bg1">
              <a:lumMod val="95000"/>
            </a:schemeClr>
          </a:solidFill>
        </p:spPr>
        <p:txBody>
          <a:bodyPr bIns="1296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dirty="0"/>
              <a:t>CLICK ICON TO ADD PICTURE</a:t>
            </a:r>
            <a:endParaRPr lang="nl-NL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2D81834-8672-F7B7-29DD-6579F8607A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8813" y="1808163"/>
            <a:ext cx="6051600" cy="4573587"/>
          </a:xfrm>
        </p:spPr>
        <p:txBody>
          <a:bodyPr/>
          <a:lstStyle>
            <a:lvl1pPr marL="358775" indent="-358775">
              <a:spcAft>
                <a:spcPts val="600"/>
              </a:spcAft>
              <a:buFont typeface="+mj-lt"/>
              <a:buAutoNum type="arabicPeriod"/>
              <a:defRPr/>
            </a:lvl1pPr>
            <a:lvl2pPr marL="534988" indent="-182563">
              <a:spcAft>
                <a:spcPts val="600"/>
              </a:spcAft>
              <a:defRPr/>
            </a:lvl2pPr>
            <a:lvl3pPr marL="719138" indent="-177800">
              <a:spcAft>
                <a:spcPts val="600"/>
              </a:spcAft>
              <a:defRPr/>
            </a:lvl3pPr>
            <a:lvl4pPr marL="895350" indent="-177800">
              <a:spcAft>
                <a:spcPts val="600"/>
              </a:spcAft>
              <a:defRPr/>
            </a:lvl4pPr>
            <a:lvl5pPr marL="1077913" indent="-182563"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Agenda poi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61646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E11CA3A-BEF4-983D-F8EF-027535BA76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Title</a:t>
            </a:r>
            <a:endParaRPr lang="nl-NL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E27B893C-196D-924E-4919-80D68A68BFD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8813" y="2097088"/>
            <a:ext cx="10874375" cy="4032249"/>
          </a:xfrm>
        </p:spPr>
        <p:txBody>
          <a:bodyPr/>
          <a:lstStyle/>
          <a:p>
            <a:r>
              <a:rPr lang="en-GB"/>
              <a:t>Type your text here, or insert one of the other types of content, such as a chart or table, by clicking on the corresponding icon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DD2A30CF-CCD4-8879-6161-5DF4D4C704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Presentation name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2F5766AA-7328-73D4-726E-8B8C198A58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695EC5-0A0B-43EA-AE57-9F63CF72E121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7" name="Tijdelijke aanduiding voor tekst 4">
            <a:extLst>
              <a:ext uri="{FF2B5EF4-FFF2-40B4-BE49-F238E27FC236}">
                <a16:creationId xmlns:a16="http://schemas.microsoft.com/office/drawing/2014/main" id="{599077F0-F599-F16E-05AC-1D4F3863ECD3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58813" y="1592263"/>
            <a:ext cx="10875600" cy="284437"/>
          </a:xfrm>
        </p:spPr>
        <p:txBody>
          <a:bodyPr wrap="square" anchor="t" anchorCtr="0">
            <a:sp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40868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61">
          <p15:clr>
            <a:srgbClr val="FBAE40"/>
          </p15:clr>
        </p15:guide>
        <p15:guide id="2" orient="horz" pos="1321" userDrawn="1">
          <p15:clr>
            <a:srgbClr val="FBAE40"/>
          </p15:clr>
        </p15:guide>
        <p15:guide id="3" orient="horz" pos="1003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5772B4-9AEC-5F23-2319-4815B56EAE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Title</a:t>
            </a:r>
            <a:endParaRPr lang="nl-NL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3074CF84-1E49-3731-23C3-89110C59001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58813" y="2097088"/>
            <a:ext cx="5112000" cy="4284662"/>
          </a:xfrm>
        </p:spPr>
        <p:txBody>
          <a:bodyPr/>
          <a:lstStyle/>
          <a:p>
            <a:r>
              <a:rPr lang="en-GB"/>
              <a:t>Type your text here, or insert one of the other types of content, such as a chart or table, by clicking on the corresponding icon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1102FD9E-51D9-D2BD-1A89-8F8CB508D871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421188" y="2097088"/>
            <a:ext cx="5112000" cy="4284662"/>
          </a:xfrm>
        </p:spPr>
        <p:txBody>
          <a:bodyPr/>
          <a:lstStyle/>
          <a:p>
            <a:r>
              <a:rPr lang="en-GB"/>
              <a:t>Type your text here, or insert one of the other types of content, such as a chart or table, by clicking on the corresponding icon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99F8DBFD-EDD6-B79D-0E15-9CA6E574A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Presentation name</a:t>
            </a:r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6F634622-577B-58BD-CBF8-CBB17F1B7F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695EC5-0A0B-43EA-AE57-9F63CF72E121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8" name="Tijdelijke aanduiding voor tekst 4">
            <a:extLst>
              <a:ext uri="{FF2B5EF4-FFF2-40B4-BE49-F238E27FC236}">
                <a16:creationId xmlns:a16="http://schemas.microsoft.com/office/drawing/2014/main" id="{4F22778B-F0BA-23BE-DBB8-721E245974F7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58813" y="1592263"/>
            <a:ext cx="10875600" cy="284437"/>
          </a:xfrm>
        </p:spPr>
        <p:txBody>
          <a:bodyPr wrap="square" anchor="t" anchorCtr="0">
            <a:sp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712993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orient="horz" pos="1321" userDrawn="1">
          <p15:clr>
            <a:srgbClr val="FBAE40"/>
          </p15:clr>
        </p15:guide>
        <p15:guide id="3" orient="horz" pos="1003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432AF09D-908F-B984-D6E9-BCB52114998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58813" y="2097088"/>
            <a:ext cx="5112000" cy="284437"/>
          </a:xfrm>
        </p:spPr>
        <p:txBody>
          <a:bodyPr anchor="t" anchorCtr="0">
            <a:spAutoFit/>
          </a:bodyPr>
          <a:lstStyle>
            <a:lvl1pPr marL="0" indent="0">
              <a:buNone/>
              <a:defRPr sz="1800" b="1">
                <a:solidFill>
                  <a:schemeClr val="accent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51AA4E67-ECFD-B788-8D8E-502DC454A74F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421188" y="2097088"/>
            <a:ext cx="5112000" cy="284437"/>
          </a:xfrm>
        </p:spPr>
        <p:txBody>
          <a:bodyPr anchor="t" anchorCtr="0">
            <a:spAutoFit/>
          </a:bodyPr>
          <a:lstStyle>
            <a:lvl1pPr marL="0" indent="0">
              <a:buNone/>
              <a:defRPr sz="1800" b="1">
                <a:solidFill>
                  <a:schemeClr val="accent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Title</a:t>
            </a:r>
            <a:endParaRPr lang="nl-NL"/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A1C2FC40-86A3-BEDD-3207-2EFA1F4FA7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Presentation name</a:t>
            </a:r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E751B6A2-2396-AA5A-7613-2D2F4E96DA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695EC5-0A0B-43EA-AE57-9F63CF72E121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ED71652D-2090-3A8C-9DBE-8F35B3C62C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Title</a:t>
            </a:r>
          </a:p>
        </p:txBody>
      </p:sp>
      <p:sp>
        <p:nvSpPr>
          <p:cNvPr id="4" name="Tijdelijke aanduiding voor tekst 4">
            <a:extLst>
              <a:ext uri="{FF2B5EF4-FFF2-40B4-BE49-F238E27FC236}">
                <a16:creationId xmlns:a16="http://schemas.microsoft.com/office/drawing/2014/main" id="{1E10C480-86AB-89F5-A1F8-DC574A86D4D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8813" y="1592263"/>
            <a:ext cx="10875600" cy="284437"/>
          </a:xfrm>
        </p:spPr>
        <p:txBody>
          <a:bodyPr wrap="square" anchor="t" anchorCtr="0">
            <a:sp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2" name="Tijdelijke aanduiding voor inhoud 2">
            <a:extLst>
              <a:ext uri="{FF2B5EF4-FFF2-40B4-BE49-F238E27FC236}">
                <a16:creationId xmlns:a16="http://schemas.microsoft.com/office/drawing/2014/main" id="{D2DDD52C-9CA8-D16A-3BD1-C1C87D52B44E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58813" y="2457750"/>
            <a:ext cx="5112000" cy="3924000"/>
          </a:xfrm>
        </p:spPr>
        <p:txBody>
          <a:bodyPr/>
          <a:lstStyle/>
          <a:p>
            <a:r>
              <a:rPr lang="en-GB"/>
              <a:t>Type your text here, or insert one of the other types of content, such as a chart or table, by clicking on the corresponding icon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Tijdelijke aanduiding voor inhoud 3">
            <a:extLst>
              <a:ext uri="{FF2B5EF4-FFF2-40B4-BE49-F238E27FC236}">
                <a16:creationId xmlns:a16="http://schemas.microsoft.com/office/drawing/2014/main" id="{AF12A429-083E-3075-8BA1-A1B4EA6438AA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421188" y="2457750"/>
            <a:ext cx="5112000" cy="3924000"/>
          </a:xfrm>
        </p:spPr>
        <p:txBody>
          <a:bodyPr/>
          <a:lstStyle/>
          <a:p>
            <a:r>
              <a:rPr lang="en-GB"/>
              <a:t>Type your text here, or insert one of the other types of content, such as a chart or table, by clicking on the corresponding icon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10757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orient="horz" pos="1321" userDrawn="1">
          <p15:clr>
            <a:srgbClr val="FBAE40"/>
          </p15:clr>
        </p15:guide>
        <p15:guide id="3" orient="horz" pos="1003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432AF09D-908F-B984-D6E9-BCB52114998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58813" y="2097088"/>
            <a:ext cx="3348000" cy="252826"/>
          </a:xfrm>
        </p:spPr>
        <p:txBody>
          <a:bodyPr anchor="t" anchorCtr="0">
            <a:spAutoFit/>
          </a:bodyPr>
          <a:lstStyle>
            <a:lvl1pPr marL="0" indent="0">
              <a:buNone/>
              <a:defRPr sz="1600" b="1">
                <a:solidFill>
                  <a:schemeClr val="accent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51AA4E67-ECFD-B788-8D8E-502DC454A74F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4422000" y="2097088"/>
            <a:ext cx="3348000" cy="252826"/>
          </a:xfrm>
        </p:spPr>
        <p:txBody>
          <a:bodyPr anchor="t" anchorCtr="0">
            <a:spAutoFit/>
          </a:bodyPr>
          <a:lstStyle>
            <a:lvl1pPr marL="0" indent="0">
              <a:buNone/>
              <a:defRPr sz="1600" b="1">
                <a:solidFill>
                  <a:schemeClr val="accent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Title</a:t>
            </a:r>
            <a:endParaRPr lang="nl-NL"/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A1C2FC40-86A3-BEDD-3207-2EFA1F4FA7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Presentation name</a:t>
            </a:r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E751B6A2-2396-AA5A-7613-2D2F4E96DA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695EC5-0A0B-43EA-AE57-9F63CF72E121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ED71652D-2090-3A8C-9DBE-8F35B3C62C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Title</a:t>
            </a:r>
          </a:p>
        </p:txBody>
      </p:sp>
      <p:sp>
        <p:nvSpPr>
          <p:cNvPr id="2" name="Tijdelijke aanduiding voor tekst 4">
            <a:extLst>
              <a:ext uri="{FF2B5EF4-FFF2-40B4-BE49-F238E27FC236}">
                <a16:creationId xmlns:a16="http://schemas.microsoft.com/office/drawing/2014/main" id="{70BB2985-ACC3-EBF4-DCDD-0AE57688E20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85188" y="2097088"/>
            <a:ext cx="3348000" cy="252826"/>
          </a:xfrm>
        </p:spPr>
        <p:txBody>
          <a:bodyPr anchor="t" anchorCtr="0">
            <a:spAutoFit/>
          </a:bodyPr>
          <a:lstStyle>
            <a:lvl1pPr marL="0" indent="0">
              <a:buNone/>
              <a:defRPr sz="1600" b="1">
                <a:solidFill>
                  <a:schemeClr val="accent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Title</a:t>
            </a:r>
            <a:endParaRPr lang="nl-NL"/>
          </a:p>
        </p:txBody>
      </p:sp>
      <p:sp>
        <p:nvSpPr>
          <p:cNvPr id="7" name="Tijdelijke aanduiding voor tekst 4">
            <a:extLst>
              <a:ext uri="{FF2B5EF4-FFF2-40B4-BE49-F238E27FC236}">
                <a16:creationId xmlns:a16="http://schemas.microsoft.com/office/drawing/2014/main" id="{A968A139-9246-882B-549C-8E17EA8B05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8813" y="1592263"/>
            <a:ext cx="10875600" cy="284437"/>
          </a:xfrm>
        </p:spPr>
        <p:txBody>
          <a:bodyPr wrap="square" anchor="t" anchorCtr="0">
            <a:sp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6" name="Tijdelijke aanduiding voor inhoud 2">
            <a:extLst>
              <a:ext uri="{FF2B5EF4-FFF2-40B4-BE49-F238E27FC236}">
                <a16:creationId xmlns:a16="http://schemas.microsoft.com/office/drawing/2014/main" id="{53AD134E-0E50-98BF-2911-0B8915D1A354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58813" y="2457750"/>
            <a:ext cx="3348000" cy="3924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r>
              <a:rPr lang="en-GB"/>
              <a:t>Type your text here, or insert one of the other types of content, such as a chart or table, by clicking on the corresponding icon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3" name="Tijdelijke aanduiding voor inhoud 3">
            <a:extLst>
              <a:ext uri="{FF2B5EF4-FFF2-40B4-BE49-F238E27FC236}">
                <a16:creationId xmlns:a16="http://schemas.microsoft.com/office/drawing/2014/main" id="{E997F168-B9E8-3933-7B14-5A6FE06C47AC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22000" y="2457750"/>
            <a:ext cx="3348000" cy="3924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r>
              <a:rPr lang="en-GB"/>
              <a:t>Type your text here, or insert one of the other types of content, such as a chart or table, by clicking on the corresponding icon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ijdelijke aanduiding voor inhoud 3">
            <a:extLst>
              <a:ext uri="{FF2B5EF4-FFF2-40B4-BE49-F238E27FC236}">
                <a16:creationId xmlns:a16="http://schemas.microsoft.com/office/drawing/2014/main" id="{A9C851AA-40FA-D38E-80AA-9DA9074A7497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8185188" y="2457750"/>
            <a:ext cx="3348000" cy="3924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r>
              <a:rPr lang="en-GB"/>
              <a:t>Type your text here, or insert one of the other types of content, such as a chart or table, by clicking on the corresponding icon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160954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orient="horz" pos="1321" userDrawn="1">
          <p15:clr>
            <a:srgbClr val="FBAE40"/>
          </p15:clr>
        </p15:guide>
        <p15:guide id="3" orient="horz" pos="1003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5772B4-9AEC-5F23-2319-4815B56EAE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3" y="1053973"/>
            <a:ext cx="8280000" cy="470898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Title</a:t>
            </a:r>
            <a:endParaRPr lang="nl-NL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3074CF84-1E49-3731-23C3-89110C59001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58813" y="2097088"/>
            <a:ext cx="8280000" cy="4284662"/>
          </a:xfrm>
        </p:spPr>
        <p:txBody>
          <a:bodyPr/>
          <a:lstStyle/>
          <a:p>
            <a:r>
              <a:rPr lang="en-GB"/>
              <a:t>Type your text here, or insert one of the other types of content, such as a chart or table, by clicking on the corresponding icon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99F8DBFD-EDD6-B79D-0E15-9CA6E574A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Presentation name</a:t>
            </a:r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6F634622-577B-58BD-CBF8-CBB17F1B7F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695EC5-0A0B-43EA-AE57-9F63CF72E121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9" name="Tijdelijke aanduiding voor afbeelding 8">
            <a:extLst>
              <a:ext uri="{FF2B5EF4-FFF2-40B4-BE49-F238E27FC236}">
                <a16:creationId xmlns:a16="http://schemas.microsoft.com/office/drawing/2014/main" id="{5F04ACB2-ED28-547E-8759-B1A679CBB25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332912" y="916088"/>
            <a:ext cx="2859088" cy="5465662"/>
          </a:xfrm>
          <a:solidFill>
            <a:schemeClr val="bg1">
              <a:lumMod val="95000"/>
            </a:schemeClr>
          </a:solidFill>
        </p:spPr>
        <p:txBody>
          <a:bodyPr bIns="1296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dirty="0"/>
              <a:t>CLICK ICON TO ADD PICTURE</a:t>
            </a:r>
            <a:endParaRPr lang="nl-NL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FC776C38-ABE8-4FB3-4BFE-D7F96AF6220C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58813" y="1592263"/>
            <a:ext cx="8280000" cy="284437"/>
          </a:xfrm>
        </p:spPr>
        <p:txBody>
          <a:bodyPr wrap="square" anchor="t" anchorCtr="0">
            <a:sp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4020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orient="horz" pos="1321" userDrawn="1">
          <p15:clr>
            <a:srgbClr val="FBAE40"/>
          </p15:clr>
        </p15:guide>
        <p15:guide id="3" orient="horz" pos="1003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1113225-F2A0-10BA-5972-F7F66AC9AB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Title</a:t>
            </a:r>
            <a:endParaRPr lang="nl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6860BD28-6535-837A-EA79-0A9A46ED29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Presentation name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C08135D8-B955-5AB7-FAEE-433DBA980D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695EC5-0A0B-43EA-AE57-9F63CF72E121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6" name="Tijdelijke aanduiding voor tekst 4">
            <a:extLst>
              <a:ext uri="{FF2B5EF4-FFF2-40B4-BE49-F238E27FC236}">
                <a16:creationId xmlns:a16="http://schemas.microsoft.com/office/drawing/2014/main" id="{9EC141B8-E707-B40C-5EEB-019CF3A57BBD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58813" y="1592263"/>
            <a:ext cx="10875600" cy="284437"/>
          </a:xfrm>
        </p:spPr>
        <p:txBody>
          <a:bodyPr wrap="square" anchor="t" anchorCtr="0">
            <a:sp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902111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104559E7-4E2E-F512-5518-3D8E69AD76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Presentation name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C9EFE843-8904-B8B7-E4C7-8412F44B25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695EC5-0A0B-43EA-AE57-9F63CF72E121}" type="slidenum">
              <a:rPr lang="nl-NL" smtClean="0"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39899787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hoek 9">
            <a:extLst>
              <a:ext uri="{FF2B5EF4-FFF2-40B4-BE49-F238E27FC236}">
                <a16:creationId xmlns:a16="http://schemas.microsoft.com/office/drawing/2014/main" id="{2D26528D-ED03-8003-6B8B-2A14B521F5F9}"/>
              </a:ext>
            </a:extLst>
          </p:cNvPr>
          <p:cNvSpPr/>
          <p:nvPr userDrawn="1"/>
        </p:nvSpPr>
        <p:spPr>
          <a:xfrm>
            <a:off x="0" y="5393803"/>
            <a:ext cx="12192000" cy="146419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9" name="Tijdelijke aanduiding voor afbeelding 8">
            <a:extLst>
              <a:ext uri="{FF2B5EF4-FFF2-40B4-BE49-F238E27FC236}">
                <a16:creationId xmlns:a16="http://schemas.microsoft.com/office/drawing/2014/main" id="{CE7C6C86-7776-7891-05EB-13475DDB1CF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903603"/>
            <a:ext cx="12192000" cy="4536000"/>
          </a:xfrm>
          <a:solidFill>
            <a:schemeClr val="bg1">
              <a:lumMod val="95000"/>
            </a:schemeClr>
          </a:solidFill>
        </p:spPr>
        <p:txBody>
          <a:bodyPr bIns="1296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dirty="0"/>
              <a:t>CLICK ICON TO ADD PICTURE</a:t>
            </a:r>
            <a:endParaRPr lang="nl-NL" dirty="0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C30C3087-DDA8-9163-9AAB-06577E2424F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555284" y="6075681"/>
            <a:ext cx="5636716" cy="782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42387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97E24342-20E1-6F98-9763-D04D4C1297A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55700" y="1101866"/>
            <a:ext cx="9872664" cy="706347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400" b="0">
                <a:solidFill>
                  <a:schemeClr val="accent1"/>
                </a:solidFill>
              </a:defRPr>
            </a:lvl1pPr>
          </a:lstStyle>
          <a:p>
            <a:r>
              <a:rPr lang="en-GB"/>
              <a:t>Presentation title</a:t>
            </a:r>
            <a:endParaRPr lang="en-GB" dirty="0"/>
          </a:p>
        </p:txBody>
      </p:sp>
      <p:sp>
        <p:nvSpPr>
          <p:cNvPr id="4" name="Tijdelijke aanduiding voor afbeelding 8">
            <a:extLst>
              <a:ext uri="{FF2B5EF4-FFF2-40B4-BE49-F238E27FC236}">
                <a16:creationId xmlns:a16="http://schemas.microsoft.com/office/drawing/2014/main" id="{A51504F7-3D1B-2FD9-AF9A-AC6E02E269F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2676526"/>
            <a:ext cx="12192000" cy="3420000"/>
          </a:xfrm>
          <a:solidFill>
            <a:schemeClr val="bg1">
              <a:lumMod val="95000"/>
            </a:schemeClr>
          </a:solidFill>
        </p:spPr>
        <p:txBody>
          <a:bodyPr bIns="1296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5" name="Tijdelijke aanduiding voor tekst 2">
            <a:extLst>
              <a:ext uri="{FF2B5EF4-FFF2-40B4-BE49-F238E27FC236}">
                <a16:creationId xmlns:a16="http://schemas.microsoft.com/office/drawing/2014/main" id="{97E2EAC3-C5BF-1AEE-FB9C-3C630B1C290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155700" y="6342110"/>
            <a:ext cx="10378800" cy="276999"/>
          </a:xfrm>
        </p:spPr>
        <p:txBody>
          <a:bodyPr anchor="ctr" anchorCtr="0">
            <a:spAutoFit/>
          </a:bodyPr>
          <a:lstStyle>
            <a:lvl1pPr marL="0" indent="0">
              <a:lnSpc>
                <a:spcPct val="100000"/>
              </a:lnSpc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Document type | Place and 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26277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3">
          <p15:clr>
            <a:srgbClr val="FBAE40"/>
          </p15:clr>
        </p15:guide>
        <p15:guide id="2" pos="6947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38F313CF-0041-159C-2ED6-6324B0BAB8A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55700" y="1101866"/>
            <a:ext cx="9872664" cy="706347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400" b="0">
                <a:solidFill>
                  <a:schemeClr val="accent1"/>
                </a:solidFill>
              </a:defRPr>
            </a:lvl1pPr>
          </a:lstStyle>
          <a:p>
            <a:r>
              <a:rPr lang="nl-NL"/>
              <a:t>Presentation title</a:t>
            </a:r>
          </a:p>
        </p:txBody>
      </p:sp>
      <p:sp>
        <p:nvSpPr>
          <p:cNvPr id="4" name="Tijdelijke aanduiding voor afbeelding 8">
            <a:extLst>
              <a:ext uri="{FF2B5EF4-FFF2-40B4-BE49-F238E27FC236}">
                <a16:creationId xmlns:a16="http://schemas.microsoft.com/office/drawing/2014/main" id="{BFF1B96D-AFF0-993E-0909-6D7DDF1AE2C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58812" y="2676526"/>
            <a:ext cx="11533188" cy="3420000"/>
          </a:xfrm>
          <a:solidFill>
            <a:schemeClr val="bg1">
              <a:lumMod val="95000"/>
            </a:schemeClr>
          </a:solidFill>
        </p:spPr>
        <p:txBody>
          <a:bodyPr bIns="1296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dirty="0"/>
              <a:t>CLICK ICON TO ADD PICTURE</a:t>
            </a:r>
            <a:endParaRPr lang="nl-NL" dirty="0"/>
          </a:p>
        </p:txBody>
      </p:sp>
      <p:sp>
        <p:nvSpPr>
          <p:cNvPr id="5" name="Tijdelijke aanduiding voor tekst 2">
            <a:extLst>
              <a:ext uri="{FF2B5EF4-FFF2-40B4-BE49-F238E27FC236}">
                <a16:creationId xmlns:a16="http://schemas.microsoft.com/office/drawing/2014/main" id="{4879FBC3-C030-5EB0-D182-A3347439F48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155700" y="6342110"/>
            <a:ext cx="10378800" cy="276999"/>
          </a:xfrm>
        </p:spPr>
        <p:txBody>
          <a:bodyPr anchor="ctr" anchorCtr="0">
            <a:spAutoFit/>
          </a:bodyPr>
          <a:lstStyle>
            <a:lvl1pPr marL="0" indent="0">
              <a:lnSpc>
                <a:spcPct val="100000"/>
              </a:lnSpc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Document type | Place and 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85285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3">
          <p15:clr>
            <a:srgbClr val="FBAE40"/>
          </p15:clr>
        </p15:guide>
        <p15:guide id="2" pos="6947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73C05B4B-2787-8651-69FC-E8EBBE0E250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55700" y="1101866"/>
            <a:ext cx="9872664" cy="706347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400" b="0">
                <a:solidFill>
                  <a:schemeClr val="accent1"/>
                </a:solidFill>
              </a:defRPr>
            </a:lvl1pPr>
          </a:lstStyle>
          <a:p>
            <a:r>
              <a:rPr lang="nl-NL"/>
              <a:t>Presentation title</a:t>
            </a:r>
          </a:p>
        </p:txBody>
      </p:sp>
      <p:sp>
        <p:nvSpPr>
          <p:cNvPr id="4" name="Tijdelijke aanduiding voor afbeelding 8">
            <a:extLst>
              <a:ext uri="{FF2B5EF4-FFF2-40B4-BE49-F238E27FC236}">
                <a16:creationId xmlns:a16="http://schemas.microsoft.com/office/drawing/2014/main" id="{B13994E0-A374-AF04-955C-954A87FB89A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2676526"/>
            <a:ext cx="12192000" cy="3420000"/>
          </a:xfrm>
          <a:solidFill>
            <a:schemeClr val="bg1">
              <a:lumMod val="95000"/>
            </a:schemeClr>
          </a:solidFill>
        </p:spPr>
        <p:txBody>
          <a:bodyPr bIns="1296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dirty="0"/>
              <a:t>CLICK ICON TO ADD PICTURE</a:t>
            </a:r>
            <a:endParaRPr lang="nl-NL" dirty="0"/>
          </a:p>
        </p:txBody>
      </p:sp>
      <p:sp>
        <p:nvSpPr>
          <p:cNvPr id="5" name="Tijdelijke aanduiding voor tekst 2">
            <a:extLst>
              <a:ext uri="{FF2B5EF4-FFF2-40B4-BE49-F238E27FC236}">
                <a16:creationId xmlns:a16="http://schemas.microsoft.com/office/drawing/2014/main" id="{169B2CA4-7C18-D945-49BD-7D639F85ECE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155700" y="6342110"/>
            <a:ext cx="10378800" cy="276999"/>
          </a:xfrm>
        </p:spPr>
        <p:txBody>
          <a:bodyPr anchor="ctr" anchorCtr="0">
            <a:spAutoFit/>
          </a:bodyPr>
          <a:lstStyle>
            <a:lvl1pPr marL="0" indent="0">
              <a:lnSpc>
                <a:spcPct val="100000"/>
              </a:lnSpc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Document type | Place and 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79109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3">
          <p15:clr>
            <a:srgbClr val="FBAE40"/>
          </p15:clr>
        </p15:guide>
        <p15:guide id="2" pos="6947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8">
            <a:extLst>
              <a:ext uri="{FF2B5EF4-FFF2-40B4-BE49-F238E27FC236}">
                <a16:creationId xmlns:a16="http://schemas.microsoft.com/office/drawing/2014/main" id="{2FBCE785-8EF0-8904-6B83-D65A5BBD1BC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915798"/>
            <a:ext cx="12192000" cy="4119498"/>
          </a:xfrm>
          <a:solidFill>
            <a:schemeClr val="bg1">
              <a:lumMod val="95000"/>
            </a:schemeClr>
          </a:solidFill>
        </p:spPr>
        <p:txBody>
          <a:bodyPr lIns="6840000" bIns="0" anchor="ctr" anchorCtr="0"/>
          <a:lstStyle>
            <a:lvl1pPr marL="0" indent="0" algn="l">
              <a:buNone/>
              <a:defRPr sz="1200"/>
            </a:lvl1pPr>
          </a:lstStyle>
          <a:p>
            <a:r>
              <a:rPr lang="en-GB" dirty="0"/>
              <a:t>TO INSERT AN IMAGE: </a:t>
            </a:r>
            <a:br>
              <a:rPr lang="en-GB" dirty="0"/>
            </a:br>
            <a:r>
              <a:rPr lang="en-GB" dirty="0"/>
              <a:t>SELECT THIS GREY AREA </a:t>
            </a:r>
            <a:br>
              <a:rPr lang="en-GB" dirty="0"/>
            </a:br>
            <a:r>
              <a:rPr lang="en-GB" dirty="0"/>
              <a:t>CLICK IN THE RIBBON ON 'INSERT' - 'PICTURES’ </a:t>
            </a:r>
            <a:br>
              <a:rPr lang="en-GB" dirty="0"/>
            </a:br>
            <a:r>
              <a:rPr lang="en-GB" dirty="0"/>
              <a:t>SELECT A PHOTO OR IMAGE VIA THE EXPLORER AND CLICK ON 'INSERT' </a:t>
            </a:r>
          </a:p>
        </p:txBody>
      </p:sp>
      <p:sp>
        <p:nvSpPr>
          <p:cNvPr id="16" name="Tijdelijke aanduiding voor tekst 15">
            <a:extLst>
              <a:ext uri="{FF2B5EF4-FFF2-40B4-BE49-F238E27FC236}">
                <a16:creationId xmlns:a16="http://schemas.microsoft.com/office/drawing/2014/main" id="{DEF768A8-2C27-F83C-D109-5930CE3406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0641" y="783273"/>
            <a:ext cx="6065293" cy="5599566"/>
          </a:xfrm>
          <a:custGeom>
            <a:avLst/>
            <a:gdLst>
              <a:gd name="connsiteX0" fmla="*/ 1688624 w 6065293"/>
              <a:gd name="connsiteY0" fmla="*/ 0 h 5599566"/>
              <a:gd name="connsiteX1" fmla="*/ 6038432 w 6065293"/>
              <a:gd name="connsiteY1" fmla="*/ 0 h 5599566"/>
              <a:gd name="connsiteX2" fmla="*/ 6065293 w 6065293"/>
              <a:gd name="connsiteY2" fmla="*/ 2486524 h 5599566"/>
              <a:gd name="connsiteX3" fmla="*/ 5009672 w 6065293"/>
              <a:gd name="connsiteY3" fmla="*/ 5599566 h 5599566"/>
              <a:gd name="connsiteX4" fmla="*/ 0 w 6065293"/>
              <a:gd name="connsiteY4" fmla="*/ 5599566 h 5599566"/>
              <a:gd name="connsiteX5" fmla="*/ 0 w 6065293"/>
              <a:gd name="connsiteY5" fmla="*/ 2131 h 55995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65293" h="5599566">
                <a:moveTo>
                  <a:pt x="1688624" y="0"/>
                </a:moveTo>
                <a:lnTo>
                  <a:pt x="6038432" y="0"/>
                </a:lnTo>
                <a:lnTo>
                  <a:pt x="6065293" y="2486524"/>
                </a:lnTo>
                <a:lnTo>
                  <a:pt x="5009672" y="5599566"/>
                </a:lnTo>
                <a:lnTo>
                  <a:pt x="0" y="5599566"/>
                </a:lnTo>
                <a:lnTo>
                  <a:pt x="0" y="2131"/>
                </a:lnTo>
                <a:close/>
              </a:path>
            </a:pathLst>
          </a:custGeom>
          <a:gradFill>
            <a:gsLst>
              <a:gs pos="0">
                <a:schemeClr val="accent2">
                  <a:alpha val="70000"/>
                </a:schemeClr>
              </a:gs>
              <a:gs pos="100000">
                <a:schemeClr val="accent2">
                  <a:alpha val="5000"/>
                </a:schemeClr>
              </a:gs>
            </a:gsLst>
            <a:lin ang="0" scaled="1"/>
          </a:gradFill>
        </p:spPr>
        <p:txBody>
          <a:bodyPr wrap="square" anchor="ctr" anchorCtr="1">
            <a:noAutofit/>
          </a:bodyPr>
          <a:lstStyle>
            <a:lvl1pPr marL="0" indent="0" algn="ctr">
              <a:buNone/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/>
              <a:t> 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2497AA1-237C-74EC-3C33-0BD62480FC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338853" y="87222"/>
            <a:ext cx="2442741" cy="701448"/>
          </a:xfrm>
          <a:prstGeom prst="rect">
            <a:avLst/>
          </a:prstGeom>
        </p:spPr>
      </p:pic>
      <p:sp>
        <p:nvSpPr>
          <p:cNvPr id="4" name="Titel 1">
            <a:extLst>
              <a:ext uri="{FF2B5EF4-FFF2-40B4-BE49-F238E27FC236}">
                <a16:creationId xmlns:a16="http://schemas.microsoft.com/office/drawing/2014/main" id="{D6925862-4862-CC9E-8883-D3B4BAF4F4D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55700" y="5196414"/>
            <a:ext cx="10377488" cy="263149"/>
          </a:xfrm>
        </p:spPr>
        <p:txBody>
          <a:bodyPr anchor="t" anchorCtr="0"/>
          <a:lstStyle>
            <a:lvl1pPr algn="l">
              <a:defRPr sz="1900" b="1">
                <a:solidFill>
                  <a:schemeClr val="accent1"/>
                </a:solidFill>
              </a:defRPr>
            </a:lvl1pPr>
          </a:lstStyle>
          <a:p>
            <a:r>
              <a:rPr lang="nl-NL"/>
              <a:t>Presentation title</a:t>
            </a:r>
          </a:p>
        </p:txBody>
      </p:sp>
      <p:sp>
        <p:nvSpPr>
          <p:cNvPr id="5" name="Tijdelijke aanduiding voor tekst 2">
            <a:extLst>
              <a:ext uri="{FF2B5EF4-FFF2-40B4-BE49-F238E27FC236}">
                <a16:creationId xmlns:a16="http://schemas.microsoft.com/office/drawing/2014/main" id="{E4CD95D6-AAD2-E935-4D08-84D910BC704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155700" y="5816900"/>
            <a:ext cx="10378800" cy="252826"/>
          </a:xfrm>
        </p:spPr>
        <p:txBody>
          <a:bodyPr anchor="t" anchorCtr="0">
            <a:sp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Document type | Place and 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36783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3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5772B4-9AEC-5F23-2319-4815B56EAE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3" y="1053973"/>
            <a:ext cx="6051600" cy="470898"/>
          </a:xfrm>
        </p:spPr>
        <p:txBody>
          <a:bodyPr/>
          <a:lstStyle>
            <a:lvl1pPr>
              <a:defRPr/>
            </a:lvl1pPr>
          </a:lstStyle>
          <a:p>
            <a:r>
              <a:rPr lang="nl-NL"/>
              <a:t>Title</a:t>
            </a:r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99F8DBFD-EDD6-B79D-0E15-9CA6E574A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Presentation name</a:t>
            </a:r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6F634622-577B-58BD-CBF8-CBB17F1B7F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695EC5-0A0B-43EA-AE57-9F63CF72E121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9" name="Tijdelijke aanduiding voor afbeelding 8">
            <a:extLst>
              <a:ext uri="{FF2B5EF4-FFF2-40B4-BE49-F238E27FC236}">
                <a16:creationId xmlns:a16="http://schemas.microsoft.com/office/drawing/2014/main" id="{5F04ACB2-ED28-547E-8759-B1A679CBB25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936000" y="916088"/>
            <a:ext cx="5256000" cy="5465662"/>
          </a:xfrm>
          <a:solidFill>
            <a:schemeClr val="bg1">
              <a:lumMod val="95000"/>
            </a:schemeClr>
          </a:solidFill>
        </p:spPr>
        <p:txBody>
          <a:bodyPr bIns="1296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dirty="0"/>
              <a:t>CLICK ICON TO ADD PICTURE</a:t>
            </a:r>
            <a:endParaRPr lang="nl-NL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2D81834-8672-F7B7-29DD-6579F8607A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8813" y="1808163"/>
            <a:ext cx="6051600" cy="4573587"/>
          </a:xfrm>
        </p:spPr>
        <p:txBody>
          <a:bodyPr/>
          <a:lstStyle>
            <a:lvl1pPr marL="358775" indent="-358775">
              <a:spcAft>
                <a:spcPts val="600"/>
              </a:spcAft>
              <a:buFont typeface="+mj-lt"/>
              <a:buAutoNum type="arabicPeriod"/>
              <a:defRPr/>
            </a:lvl1pPr>
            <a:lvl2pPr marL="534988" indent="-182563">
              <a:spcAft>
                <a:spcPts val="600"/>
              </a:spcAft>
              <a:defRPr/>
            </a:lvl2pPr>
            <a:lvl3pPr marL="719138" indent="-177800">
              <a:spcAft>
                <a:spcPts val="600"/>
              </a:spcAft>
              <a:defRPr/>
            </a:lvl3pPr>
            <a:lvl4pPr marL="895350" indent="-177800">
              <a:spcAft>
                <a:spcPts val="600"/>
              </a:spcAft>
              <a:defRPr/>
            </a:lvl4pPr>
            <a:lvl5pPr marL="1077913" indent="-182563"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Agenda poi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227433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E11CA3A-BEF4-983D-F8EF-027535BA76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Title</a:t>
            </a:r>
            <a:endParaRPr lang="nl-NL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E27B893C-196D-924E-4919-80D68A68BFD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8813" y="2097088"/>
            <a:ext cx="10874375" cy="4032249"/>
          </a:xfrm>
        </p:spPr>
        <p:txBody>
          <a:bodyPr/>
          <a:lstStyle/>
          <a:p>
            <a:r>
              <a:rPr lang="en-GB"/>
              <a:t>Type your text here, or insert one of the other types of content, such as a chart or table, by clicking on the corresponding icon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DD2A30CF-CCD4-8879-6161-5DF4D4C704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Presentation name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2F5766AA-7328-73D4-726E-8B8C198A58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695EC5-0A0B-43EA-AE57-9F63CF72E121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7" name="Tijdelijke aanduiding voor tekst 4">
            <a:extLst>
              <a:ext uri="{FF2B5EF4-FFF2-40B4-BE49-F238E27FC236}">
                <a16:creationId xmlns:a16="http://schemas.microsoft.com/office/drawing/2014/main" id="{C723DD9D-213E-88D7-0D6E-66DC8AA3821E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58813" y="1592263"/>
            <a:ext cx="10875600" cy="284437"/>
          </a:xfrm>
        </p:spPr>
        <p:txBody>
          <a:bodyPr wrap="square" anchor="t" anchorCtr="0">
            <a:sp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5999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61">
          <p15:clr>
            <a:srgbClr val="FBAE40"/>
          </p15:clr>
        </p15:guide>
        <p15:guide id="2" orient="horz" pos="1321" userDrawn="1">
          <p15:clr>
            <a:srgbClr val="FBAE40"/>
          </p15:clr>
        </p15:guide>
        <p15:guide id="3" orient="horz" pos="1003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5772B4-9AEC-5F23-2319-4815B56EAE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Title</a:t>
            </a:r>
            <a:endParaRPr lang="nl-NL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3074CF84-1E49-3731-23C3-89110C59001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58813" y="2097088"/>
            <a:ext cx="5112000" cy="4284662"/>
          </a:xfrm>
        </p:spPr>
        <p:txBody>
          <a:bodyPr/>
          <a:lstStyle/>
          <a:p>
            <a:r>
              <a:rPr lang="en-GB"/>
              <a:t>Type your text here, or insert one of the other types of content, such as a chart or table, by clicking on the corresponding icon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1102FD9E-51D9-D2BD-1A89-8F8CB508D871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421188" y="2097088"/>
            <a:ext cx="5112000" cy="4284662"/>
          </a:xfrm>
        </p:spPr>
        <p:txBody>
          <a:bodyPr/>
          <a:lstStyle/>
          <a:p>
            <a:r>
              <a:rPr lang="en-GB"/>
              <a:t>Type your text here, or insert one of the other types of content, such as a chart or table, by clicking on the corresponding icon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99F8DBFD-EDD6-B79D-0E15-9CA6E574A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Presentation name</a:t>
            </a:r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6F634622-577B-58BD-CBF8-CBB17F1B7F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695EC5-0A0B-43EA-AE57-9F63CF72E121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8" name="Tijdelijke aanduiding voor tekst 4">
            <a:extLst>
              <a:ext uri="{FF2B5EF4-FFF2-40B4-BE49-F238E27FC236}">
                <a16:creationId xmlns:a16="http://schemas.microsoft.com/office/drawing/2014/main" id="{BBCB9A44-C7C4-8238-D39D-F1CC291C34EC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58813" y="1592263"/>
            <a:ext cx="10875600" cy="284437"/>
          </a:xfrm>
        </p:spPr>
        <p:txBody>
          <a:bodyPr wrap="square" anchor="t" anchorCtr="0">
            <a:sp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90728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orient="horz" pos="1321" userDrawn="1">
          <p15:clr>
            <a:srgbClr val="FBAE40"/>
          </p15:clr>
        </p15:guide>
        <p15:guide id="3" orient="horz" pos="1003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432AF09D-908F-B984-D6E9-BCB52114998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58813" y="2097088"/>
            <a:ext cx="5112000" cy="284437"/>
          </a:xfrm>
        </p:spPr>
        <p:txBody>
          <a:bodyPr anchor="t" anchorCtr="0">
            <a:spAutoFit/>
          </a:bodyPr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51AA4E67-ECFD-B788-8D8E-502DC454A74F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421188" y="2097088"/>
            <a:ext cx="5112000" cy="284437"/>
          </a:xfrm>
        </p:spPr>
        <p:txBody>
          <a:bodyPr anchor="t" anchorCtr="0">
            <a:spAutoFit/>
          </a:bodyPr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Title</a:t>
            </a:r>
            <a:endParaRPr lang="nl-NL"/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A1C2FC40-86A3-BEDD-3207-2EFA1F4FA7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Presentation name</a:t>
            </a:r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E751B6A2-2396-AA5A-7613-2D2F4E96DA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695EC5-0A0B-43EA-AE57-9F63CF72E121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ED71652D-2090-3A8C-9DBE-8F35B3C62C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Title</a:t>
            </a:r>
          </a:p>
        </p:txBody>
      </p:sp>
      <p:sp>
        <p:nvSpPr>
          <p:cNvPr id="4" name="Tijdelijke aanduiding voor tekst 4">
            <a:extLst>
              <a:ext uri="{FF2B5EF4-FFF2-40B4-BE49-F238E27FC236}">
                <a16:creationId xmlns:a16="http://schemas.microsoft.com/office/drawing/2014/main" id="{BB019E88-C734-F535-5B2F-40E6261233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8813" y="1592263"/>
            <a:ext cx="10875600" cy="284437"/>
          </a:xfrm>
        </p:spPr>
        <p:txBody>
          <a:bodyPr wrap="square" anchor="t" anchorCtr="0">
            <a:sp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2" name="Tijdelijke aanduiding voor inhoud 2">
            <a:extLst>
              <a:ext uri="{FF2B5EF4-FFF2-40B4-BE49-F238E27FC236}">
                <a16:creationId xmlns:a16="http://schemas.microsoft.com/office/drawing/2014/main" id="{E0408C70-5BF1-72C2-AB9E-10E6FB0F500A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58813" y="2457750"/>
            <a:ext cx="5112000" cy="3924000"/>
          </a:xfrm>
        </p:spPr>
        <p:txBody>
          <a:bodyPr/>
          <a:lstStyle/>
          <a:p>
            <a:r>
              <a:rPr lang="en-GB"/>
              <a:t>Type your text here, or insert one of the other types of content, such as a chart or table, by clicking on the corresponding icon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Tijdelijke aanduiding voor inhoud 3">
            <a:extLst>
              <a:ext uri="{FF2B5EF4-FFF2-40B4-BE49-F238E27FC236}">
                <a16:creationId xmlns:a16="http://schemas.microsoft.com/office/drawing/2014/main" id="{212DFEE8-7091-D70B-F5EA-8CE00B348C2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421188" y="2457750"/>
            <a:ext cx="5112000" cy="3924000"/>
          </a:xfrm>
        </p:spPr>
        <p:txBody>
          <a:bodyPr/>
          <a:lstStyle/>
          <a:p>
            <a:r>
              <a:rPr lang="en-GB"/>
              <a:t>Type your text here, or insert one of the other types of content, such as a chart or table, by clicking on the corresponding icon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48801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orient="horz" pos="1321" userDrawn="1">
          <p15:clr>
            <a:srgbClr val="FBAE40"/>
          </p15:clr>
        </p15:guide>
        <p15:guide id="3" orient="horz" pos="1003" userDrawn="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432AF09D-908F-B984-D6E9-BCB52114998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58813" y="2097088"/>
            <a:ext cx="3348000" cy="252826"/>
          </a:xfrm>
        </p:spPr>
        <p:txBody>
          <a:bodyPr anchor="t" anchorCtr="0">
            <a:spAutoFit/>
          </a:bodyPr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51AA4E67-ECFD-B788-8D8E-502DC454A74F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4422000" y="2097088"/>
            <a:ext cx="3348000" cy="252826"/>
          </a:xfrm>
        </p:spPr>
        <p:txBody>
          <a:bodyPr anchor="t" anchorCtr="0">
            <a:spAutoFit/>
          </a:bodyPr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Title</a:t>
            </a:r>
            <a:endParaRPr lang="nl-NL"/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A1C2FC40-86A3-BEDD-3207-2EFA1F4FA7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Presentation name</a:t>
            </a:r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E751B6A2-2396-AA5A-7613-2D2F4E96DA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695EC5-0A0B-43EA-AE57-9F63CF72E121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10" name="Tijdelijke aanduiding voor inhoud 2">
            <a:extLst>
              <a:ext uri="{FF2B5EF4-FFF2-40B4-BE49-F238E27FC236}">
                <a16:creationId xmlns:a16="http://schemas.microsoft.com/office/drawing/2014/main" id="{A36E8A0D-C14B-634D-53DA-EC9E9F1D2B96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58813" y="2457750"/>
            <a:ext cx="3348000" cy="3924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r>
              <a:rPr lang="en-GB"/>
              <a:t>Type your text here, or insert one of the other types of content, such as a chart or table, by clicking on the corresponding icon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Tijdelijke aanduiding voor inhoud 3">
            <a:extLst>
              <a:ext uri="{FF2B5EF4-FFF2-40B4-BE49-F238E27FC236}">
                <a16:creationId xmlns:a16="http://schemas.microsoft.com/office/drawing/2014/main" id="{35F7DB49-F9B2-EFBE-E5AC-EC78ED4BFE1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22000" y="2457750"/>
            <a:ext cx="3348000" cy="3924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r>
              <a:rPr lang="en-GB"/>
              <a:t>Type your text here, or insert one of the other types of content, such as a chart or table, by clicking on the corresponding icon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ED71652D-2090-3A8C-9DBE-8F35B3C62C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Title</a:t>
            </a:r>
          </a:p>
        </p:txBody>
      </p:sp>
      <p:sp>
        <p:nvSpPr>
          <p:cNvPr id="2" name="Tijdelijke aanduiding voor tekst 4">
            <a:extLst>
              <a:ext uri="{FF2B5EF4-FFF2-40B4-BE49-F238E27FC236}">
                <a16:creationId xmlns:a16="http://schemas.microsoft.com/office/drawing/2014/main" id="{70BB2985-ACC3-EBF4-DCDD-0AE57688E20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85188" y="2097088"/>
            <a:ext cx="3348000" cy="252826"/>
          </a:xfrm>
        </p:spPr>
        <p:txBody>
          <a:bodyPr anchor="t" anchorCtr="0">
            <a:spAutoFit/>
          </a:bodyPr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Title</a:t>
            </a:r>
            <a:endParaRPr lang="nl-NL"/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126D5874-3218-1479-EA5C-4B02668DD58D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8185188" y="2457750"/>
            <a:ext cx="3348000" cy="3924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r>
              <a:rPr lang="en-GB"/>
              <a:t>Type your text here, or insert one of the other types of content, such as a chart or table, by clicking on the corresponding icon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Tijdelijke aanduiding voor tekst 4">
            <a:extLst>
              <a:ext uri="{FF2B5EF4-FFF2-40B4-BE49-F238E27FC236}">
                <a16:creationId xmlns:a16="http://schemas.microsoft.com/office/drawing/2014/main" id="{3AD1AA90-C877-73C4-6AF5-90E317DA0A4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8813" y="1592263"/>
            <a:ext cx="10875600" cy="284437"/>
          </a:xfrm>
        </p:spPr>
        <p:txBody>
          <a:bodyPr wrap="square" anchor="t" anchorCtr="0">
            <a:sp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65084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orient="horz" pos="1321" userDrawn="1">
          <p15:clr>
            <a:srgbClr val="FBAE40"/>
          </p15:clr>
        </p15:guide>
        <p15:guide id="3" orient="horz" pos="1003" userDrawn="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5772B4-9AEC-5F23-2319-4815B56EAE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3" y="1053973"/>
            <a:ext cx="8280000" cy="470898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Title</a:t>
            </a:r>
            <a:endParaRPr lang="nl-NL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3074CF84-1E49-3731-23C3-89110C59001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58813" y="2097088"/>
            <a:ext cx="8280000" cy="4284662"/>
          </a:xfrm>
        </p:spPr>
        <p:txBody>
          <a:bodyPr/>
          <a:lstStyle/>
          <a:p>
            <a:r>
              <a:rPr lang="en-GB"/>
              <a:t>Type your text here, or insert one of the other types of content, such as a chart or table, by clicking on the corresponding icon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99F8DBFD-EDD6-B79D-0E15-9CA6E574A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Presentation name</a:t>
            </a:r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6F634622-577B-58BD-CBF8-CBB17F1B7F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695EC5-0A0B-43EA-AE57-9F63CF72E121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9" name="Tijdelijke aanduiding voor afbeelding 8">
            <a:extLst>
              <a:ext uri="{FF2B5EF4-FFF2-40B4-BE49-F238E27FC236}">
                <a16:creationId xmlns:a16="http://schemas.microsoft.com/office/drawing/2014/main" id="{5F04ACB2-ED28-547E-8759-B1A679CBB25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332912" y="916088"/>
            <a:ext cx="2859088" cy="5465662"/>
          </a:xfrm>
          <a:solidFill>
            <a:schemeClr val="bg1">
              <a:lumMod val="95000"/>
            </a:schemeClr>
          </a:solidFill>
        </p:spPr>
        <p:txBody>
          <a:bodyPr bIns="1296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dirty="0"/>
              <a:t>CLICK ICON TO ADD PICTURE</a:t>
            </a:r>
            <a:endParaRPr lang="nl-NL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FF2CA930-7004-2FB3-F523-5949FC72186D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58813" y="1592263"/>
            <a:ext cx="8280000" cy="284437"/>
          </a:xfrm>
        </p:spPr>
        <p:txBody>
          <a:bodyPr wrap="square" anchor="t" anchorCtr="0">
            <a:sp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31826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orient="horz" pos="1321" userDrawn="1">
          <p15:clr>
            <a:srgbClr val="FBAE40"/>
          </p15:clr>
        </p15:guide>
        <p15:guide id="3" orient="horz" pos="1003" userDrawn="1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1113225-F2A0-10BA-5972-F7F66AC9AB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Title</a:t>
            </a:r>
            <a:endParaRPr lang="nl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6860BD28-6535-837A-EA79-0A9A46ED29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Presentation name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C08135D8-B955-5AB7-FAEE-433DBA980D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695EC5-0A0B-43EA-AE57-9F63CF72E121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6" name="Tijdelijke aanduiding voor tekst 4">
            <a:extLst>
              <a:ext uri="{FF2B5EF4-FFF2-40B4-BE49-F238E27FC236}">
                <a16:creationId xmlns:a16="http://schemas.microsoft.com/office/drawing/2014/main" id="{FD06EF2E-4FD3-5859-EA85-9F81B59E6073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58813" y="1592263"/>
            <a:ext cx="10875600" cy="284437"/>
          </a:xfrm>
        </p:spPr>
        <p:txBody>
          <a:bodyPr wrap="square" anchor="t" anchorCtr="0">
            <a:sp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208330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8">
            <a:extLst>
              <a:ext uri="{FF2B5EF4-FFF2-40B4-BE49-F238E27FC236}">
                <a16:creationId xmlns:a16="http://schemas.microsoft.com/office/drawing/2014/main" id="{2FBCE785-8EF0-8904-6B83-D65A5BBD1BC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915798"/>
            <a:ext cx="12192000" cy="4119498"/>
          </a:xfrm>
          <a:solidFill>
            <a:schemeClr val="bg1">
              <a:lumMod val="95000"/>
            </a:schemeClr>
          </a:solidFill>
        </p:spPr>
        <p:txBody>
          <a:bodyPr lIns="6840000" bIns="0" anchor="ctr" anchorCtr="0"/>
          <a:lstStyle>
            <a:lvl1pPr marL="0" indent="0" algn="l">
              <a:buNone/>
              <a:defRPr sz="1200"/>
            </a:lvl1pPr>
          </a:lstStyle>
          <a:p>
            <a:r>
              <a:rPr lang="en-GB" dirty="0"/>
              <a:t>TO INSERT AN IMAGE: </a:t>
            </a:r>
            <a:br>
              <a:rPr lang="en-GB" dirty="0"/>
            </a:br>
            <a:r>
              <a:rPr lang="en-GB" dirty="0"/>
              <a:t>SELECT THIS GREY AREA </a:t>
            </a:r>
            <a:br>
              <a:rPr lang="en-GB" dirty="0"/>
            </a:br>
            <a:r>
              <a:rPr lang="en-GB" dirty="0"/>
              <a:t>CLICK IN THE RIBBON ON 'INSERT' - 'PICTURES’ </a:t>
            </a:r>
            <a:br>
              <a:rPr lang="en-GB" dirty="0"/>
            </a:br>
            <a:r>
              <a:rPr lang="en-GB" dirty="0"/>
              <a:t>SELECT A PHOTO OR IMAGE VIA THE EXPLORER AND CLICK ON 'INSERT' </a:t>
            </a:r>
          </a:p>
        </p:txBody>
      </p:sp>
      <p:sp>
        <p:nvSpPr>
          <p:cNvPr id="16" name="Tijdelijke aanduiding voor tekst 15">
            <a:extLst>
              <a:ext uri="{FF2B5EF4-FFF2-40B4-BE49-F238E27FC236}">
                <a16:creationId xmlns:a16="http://schemas.microsoft.com/office/drawing/2014/main" id="{DEF768A8-2C27-F83C-D109-5930CE3406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0641" y="783273"/>
            <a:ext cx="6065293" cy="5599566"/>
          </a:xfrm>
          <a:custGeom>
            <a:avLst/>
            <a:gdLst>
              <a:gd name="connsiteX0" fmla="*/ 1688624 w 6065293"/>
              <a:gd name="connsiteY0" fmla="*/ 0 h 5599566"/>
              <a:gd name="connsiteX1" fmla="*/ 6038432 w 6065293"/>
              <a:gd name="connsiteY1" fmla="*/ 0 h 5599566"/>
              <a:gd name="connsiteX2" fmla="*/ 6065293 w 6065293"/>
              <a:gd name="connsiteY2" fmla="*/ 2486524 h 5599566"/>
              <a:gd name="connsiteX3" fmla="*/ 5009672 w 6065293"/>
              <a:gd name="connsiteY3" fmla="*/ 5599566 h 5599566"/>
              <a:gd name="connsiteX4" fmla="*/ 0 w 6065293"/>
              <a:gd name="connsiteY4" fmla="*/ 5599566 h 5599566"/>
              <a:gd name="connsiteX5" fmla="*/ 0 w 6065293"/>
              <a:gd name="connsiteY5" fmla="*/ 2131 h 55995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65293" h="5599566">
                <a:moveTo>
                  <a:pt x="1688624" y="0"/>
                </a:moveTo>
                <a:lnTo>
                  <a:pt x="6038432" y="0"/>
                </a:lnTo>
                <a:lnTo>
                  <a:pt x="6065293" y="2486524"/>
                </a:lnTo>
                <a:lnTo>
                  <a:pt x="5009672" y="5599566"/>
                </a:lnTo>
                <a:lnTo>
                  <a:pt x="0" y="5599566"/>
                </a:lnTo>
                <a:lnTo>
                  <a:pt x="0" y="2131"/>
                </a:lnTo>
                <a:close/>
              </a:path>
            </a:pathLst>
          </a:custGeom>
          <a:gradFill>
            <a:gsLst>
              <a:gs pos="0">
                <a:schemeClr val="accent1">
                  <a:alpha val="80000"/>
                </a:schemeClr>
              </a:gs>
              <a:gs pos="100000">
                <a:schemeClr val="accent1">
                  <a:alpha val="5000"/>
                </a:schemeClr>
              </a:gs>
            </a:gsLst>
            <a:lin ang="0" scaled="1"/>
          </a:gradFill>
        </p:spPr>
        <p:txBody>
          <a:bodyPr wrap="square" anchor="ctr" anchorCtr="1">
            <a:noAutofit/>
          </a:bodyPr>
          <a:lstStyle>
            <a:lvl1pPr marL="0" indent="0" algn="ctr">
              <a:buNone/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 </a:t>
            </a:r>
            <a:endParaRPr lang="en-GB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2497AA1-237C-74EC-3C33-0BD62480FC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338853" y="87222"/>
            <a:ext cx="2442741" cy="701448"/>
          </a:xfrm>
          <a:prstGeom prst="rect">
            <a:avLst/>
          </a:prstGeom>
        </p:spPr>
      </p:pic>
      <p:sp>
        <p:nvSpPr>
          <p:cNvPr id="4" name="Titel 1">
            <a:extLst>
              <a:ext uri="{FF2B5EF4-FFF2-40B4-BE49-F238E27FC236}">
                <a16:creationId xmlns:a16="http://schemas.microsoft.com/office/drawing/2014/main" id="{6FA8F429-A594-FAEF-DB52-F6AB738469C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55700" y="5196414"/>
            <a:ext cx="10377488" cy="263149"/>
          </a:xfrm>
        </p:spPr>
        <p:txBody>
          <a:bodyPr anchor="t" anchorCtr="0"/>
          <a:lstStyle>
            <a:lvl1pPr algn="l">
              <a:defRPr sz="1900" b="1">
                <a:solidFill>
                  <a:schemeClr val="tx1"/>
                </a:solidFill>
              </a:defRPr>
            </a:lvl1pPr>
          </a:lstStyle>
          <a:p>
            <a:r>
              <a:rPr lang="en-GB"/>
              <a:t>Presentation title</a:t>
            </a:r>
            <a:endParaRPr lang="en-GB" dirty="0"/>
          </a:p>
        </p:txBody>
      </p:sp>
      <p:sp>
        <p:nvSpPr>
          <p:cNvPr id="5" name="Tijdelijke aanduiding voor tekst 2">
            <a:extLst>
              <a:ext uri="{FF2B5EF4-FFF2-40B4-BE49-F238E27FC236}">
                <a16:creationId xmlns:a16="http://schemas.microsoft.com/office/drawing/2014/main" id="{FFD0381D-36E9-DCF9-A772-E5A7FBC0D35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155700" y="5816900"/>
            <a:ext cx="10378800" cy="252826"/>
          </a:xfrm>
        </p:spPr>
        <p:txBody>
          <a:bodyPr anchor="t" anchorCtr="0">
            <a:sp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Document type | Place and 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56707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3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104559E7-4E2E-F512-5518-3D8E69AD76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Presentation name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C9EFE843-8904-B8B7-E4C7-8412F44B25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695EC5-0A0B-43EA-AE57-9F63CF72E121}" type="slidenum">
              <a:rPr lang="nl-NL" smtClean="0"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98346950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hoek 9">
            <a:extLst>
              <a:ext uri="{FF2B5EF4-FFF2-40B4-BE49-F238E27FC236}">
                <a16:creationId xmlns:a16="http://schemas.microsoft.com/office/drawing/2014/main" id="{2D26528D-ED03-8003-6B8B-2A14B521F5F9}"/>
              </a:ext>
            </a:extLst>
          </p:cNvPr>
          <p:cNvSpPr/>
          <p:nvPr userDrawn="1"/>
        </p:nvSpPr>
        <p:spPr>
          <a:xfrm>
            <a:off x="0" y="5393803"/>
            <a:ext cx="12192000" cy="14641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9" name="Tijdelijke aanduiding voor afbeelding 8">
            <a:extLst>
              <a:ext uri="{FF2B5EF4-FFF2-40B4-BE49-F238E27FC236}">
                <a16:creationId xmlns:a16="http://schemas.microsoft.com/office/drawing/2014/main" id="{CE7C6C86-7776-7891-05EB-13475DDB1CF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903603"/>
            <a:ext cx="12192000" cy="4536000"/>
          </a:xfrm>
          <a:solidFill>
            <a:schemeClr val="bg1">
              <a:lumMod val="95000"/>
            </a:schemeClr>
          </a:solidFill>
        </p:spPr>
        <p:txBody>
          <a:bodyPr bIns="1296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dirty="0"/>
              <a:t>CLICK ICON TO ADD PICTURE</a:t>
            </a:r>
            <a:endParaRPr lang="nl-NL" dirty="0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C30C3087-DDA8-9163-9AAB-06577E2424F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555284" y="6075681"/>
            <a:ext cx="5636716" cy="782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04029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5772B4-9AEC-5F23-2319-4815B56EAE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3" y="1053973"/>
            <a:ext cx="6051600" cy="470898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Title</a:t>
            </a:r>
            <a:endParaRPr lang="en-GB" dirty="0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99F8DBFD-EDD6-B79D-0E15-9CA6E574A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esentation name</a:t>
            </a:r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6F634622-577B-58BD-CBF8-CBB17F1B7F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68079" y="6557979"/>
            <a:ext cx="165109" cy="153888"/>
          </a:xfrm>
        </p:spPr>
        <p:txBody>
          <a:bodyPr/>
          <a:lstStyle/>
          <a:p>
            <a:fld id="{08695EC5-0A0B-43EA-AE57-9F63CF72E121}" type="slidenum">
              <a:rPr lang="en-GB" smtClean="0"/>
              <a:t>‹nr.›</a:t>
            </a:fld>
            <a:endParaRPr lang="en-GB" dirty="0"/>
          </a:p>
        </p:txBody>
      </p:sp>
      <p:sp>
        <p:nvSpPr>
          <p:cNvPr id="9" name="Tijdelijke aanduiding voor afbeelding 8">
            <a:extLst>
              <a:ext uri="{FF2B5EF4-FFF2-40B4-BE49-F238E27FC236}">
                <a16:creationId xmlns:a16="http://schemas.microsoft.com/office/drawing/2014/main" id="{5F04ACB2-ED28-547E-8759-B1A679CBB25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936000" y="916088"/>
            <a:ext cx="5256000" cy="5465662"/>
          </a:xfrm>
          <a:solidFill>
            <a:schemeClr val="bg1">
              <a:lumMod val="95000"/>
            </a:schemeClr>
          </a:solidFill>
        </p:spPr>
        <p:txBody>
          <a:bodyPr bIns="1296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2D81834-8672-F7B7-29DD-6579F8607A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8813" y="1808163"/>
            <a:ext cx="6051600" cy="4573587"/>
          </a:xfrm>
        </p:spPr>
        <p:txBody>
          <a:bodyPr/>
          <a:lstStyle>
            <a:lvl1pPr marL="358775" indent="-358775">
              <a:spcAft>
                <a:spcPts val="600"/>
              </a:spcAft>
              <a:buFont typeface="+mj-lt"/>
              <a:buAutoNum type="arabicPeriod"/>
              <a:defRPr/>
            </a:lvl1pPr>
            <a:lvl2pPr marL="534988" indent="-182563">
              <a:spcAft>
                <a:spcPts val="600"/>
              </a:spcAft>
              <a:defRPr/>
            </a:lvl2pPr>
            <a:lvl3pPr marL="719138" indent="-177800">
              <a:spcAft>
                <a:spcPts val="600"/>
              </a:spcAft>
              <a:defRPr/>
            </a:lvl3pPr>
            <a:lvl4pPr marL="895350" indent="-177800">
              <a:spcAft>
                <a:spcPts val="600"/>
              </a:spcAft>
              <a:defRPr/>
            </a:lvl4pPr>
            <a:lvl5pPr marL="1077913" indent="-182563">
              <a:spcAft>
                <a:spcPts val="600"/>
              </a:spcAft>
              <a:defRPr/>
            </a:lvl5pPr>
          </a:lstStyle>
          <a:p>
            <a:pPr lvl="0"/>
            <a:r>
              <a:rPr lang="en-GB"/>
              <a:t>Agenda poin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03085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orient="horz" pos="113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E11CA3A-BEF4-983D-F8EF-027535BA76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Title</a:t>
            </a:r>
            <a:endParaRPr lang="en-GB" dirty="0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E27B893C-196D-924E-4919-80D68A68BFD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8813" y="2097338"/>
            <a:ext cx="10874375" cy="4032000"/>
          </a:xfrm>
        </p:spPr>
        <p:txBody>
          <a:bodyPr/>
          <a:lstStyle/>
          <a:p>
            <a:r>
              <a:rPr lang="en-GB"/>
              <a:t>Type your text here, or insert one of the other types of content, such as a chart or table, by clicking on the corresponding icon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DD2A30CF-CCD4-8879-6161-5DF4D4C704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esentation name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2F5766AA-7328-73D4-726E-8B8C198A58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68079" y="6557979"/>
            <a:ext cx="165109" cy="153888"/>
          </a:xfrm>
        </p:spPr>
        <p:txBody>
          <a:bodyPr/>
          <a:lstStyle/>
          <a:p>
            <a:fld id="{08695EC5-0A0B-43EA-AE57-9F63CF72E121}" type="slidenum">
              <a:rPr lang="en-GB" smtClean="0"/>
              <a:t>‹nr.›</a:t>
            </a:fld>
            <a:endParaRPr lang="en-GB" dirty="0"/>
          </a:p>
        </p:txBody>
      </p:sp>
      <p:sp>
        <p:nvSpPr>
          <p:cNvPr id="9" name="Tijdelijke aanduiding voor tekst 4">
            <a:extLst>
              <a:ext uri="{FF2B5EF4-FFF2-40B4-BE49-F238E27FC236}">
                <a16:creationId xmlns:a16="http://schemas.microsoft.com/office/drawing/2014/main" id="{4C590518-2CD8-01A8-AC0B-79E38CD5C986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58813" y="1592263"/>
            <a:ext cx="10875600" cy="284437"/>
          </a:xfrm>
        </p:spPr>
        <p:txBody>
          <a:bodyPr wrap="square" anchor="t" anchorCtr="0">
            <a:sp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450669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61" userDrawn="1">
          <p15:clr>
            <a:srgbClr val="FBAE40"/>
          </p15:clr>
        </p15:guide>
        <p15:guide id="2" orient="horz" pos="1321" userDrawn="1">
          <p15:clr>
            <a:srgbClr val="FBAE40"/>
          </p15:clr>
        </p15:guide>
        <p15:guide id="3" orient="horz" pos="1003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5772B4-9AEC-5F23-2319-4815B56EAE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Title</a:t>
            </a:r>
            <a:endParaRPr lang="en-GB" dirty="0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3074CF84-1E49-3731-23C3-89110C59001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58813" y="2097088"/>
            <a:ext cx="5112000" cy="4284662"/>
          </a:xfrm>
        </p:spPr>
        <p:txBody>
          <a:bodyPr/>
          <a:lstStyle/>
          <a:p>
            <a:r>
              <a:rPr lang="en-GB"/>
              <a:t>Type your text here, or insert one of the other types of content, such as a chart or table, by clicking on the corresponding icon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1102FD9E-51D9-D2BD-1A89-8F8CB508D871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421188" y="2097088"/>
            <a:ext cx="5112000" cy="4284662"/>
          </a:xfrm>
        </p:spPr>
        <p:txBody>
          <a:bodyPr/>
          <a:lstStyle/>
          <a:p>
            <a:r>
              <a:rPr lang="en-GB"/>
              <a:t>Type your text here, or insert one of the other types of content, such as a chart or table, by clicking on the corresponding icon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99F8DBFD-EDD6-B79D-0E15-9CA6E574A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esentation name</a:t>
            </a:r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6F634622-577B-58BD-CBF8-CBB17F1B7F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68079" y="6557979"/>
            <a:ext cx="165109" cy="153888"/>
          </a:xfrm>
        </p:spPr>
        <p:txBody>
          <a:bodyPr/>
          <a:lstStyle/>
          <a:p>
            <a:fld id="{08695EC5-0A0B-43EA-AE57-9F63CF72E121}" type="slidenum">
              <a:rPr lang="en-GB" smtClean="0"/>
              <a:t>‹nr.›</a:t>
            </a:fld>
            <a:endParaRPr lang="en-GB" dirty="0"/>
          </a:p>
        </p:txBody>
      </p:sp>
      <p:sp>
        <p:nvSpPr>
          <p:cNvPr id="8" name="Tijdelijke aanduiding voor tekst 4">
            <a:extLst>
              <a:ext uri="{FF2B5EF4-FFF2-40B4-BE49-F238E27FC236}">
                <a16:creationId xmlns:a16="http://schemas.microsoft.com/office/drawing/2014/main" id="{90880158-6761-0CBE-9988-0CFD614B2389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58813" y="1592263"/>
            <a:ext cx="10875600" cy="284437"/>
          </a:xfrm>
        </p:spPr>
        <p:txBody>
          <a:bodyPr wrap="square" anchor="t" anchorCtr="0">
            <a:sp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46990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20" userDrawn="1">
          <p15:clr>
            <a:srgbClr val="FBAE40"/>
          </p15:clr>
        </p15:guide>
        <p15:guide id="2" orient="horz" pos="1321" userDrawn="1">
          <p15:clr>
            <a:srgbClr val="FBAE40"/>
          </p15:clr>
        </p15:guide>
        <p15:guide id="3" orient="horz" pos="1003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432AF09D-908F-B984-D6E9-BCB52114998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58813" y="2097088"/>
            <a:ext cx="5112000" cy="284437"/>
          </a:xfrm>
        </p:spPr>
        <p:txBody>
          <a:bodyPr anchor="t" anchorCtr="0">
            <a:spAutoFit/>
          </a:bodyPr>
          <a:lstStyle>
            <a:lvl1pPr marL="0" indent="0">
              <a:buNone/>
              <a:defRPr sz="18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51AA4E67-ECFD-B788-8D8E-502DC454A74F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421188" y="2097088"/>
            <a:ext cx="5112000" cy="284437"/>
          </a:xfrm>
        </p:spPr>
        <p:txBody>
          <a:bodyPr anchor="t" anchorCtr="0">
            <a:spAutoFit/>
          </a:bodyPr>
          <a:lstStyle>
            <a:lvl1pPr marL="0" indent="0">
              <a:buNone/>
              <a:defRPr sz="18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A1C2FC40-86A3-BEDD-3207-2EFA1F4FA7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esentation name</a:t>
            </a:r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E751B6A2-2396-AA5A-7613-2D2F4E96DA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68079" y="6557979"/>
            <a:ext cx="165109" cy="153888"/>
          </a:xfrm>
        </p:spPr>
        <p:txBody>
          <a:bodyPr/>
          <a:lstStyle/>
          <a:p>
            <a:fld id="{08695EC5-0A0B-43EA-AE57-9F63CF72E121}" type="slidenum">
              <a:rPr lang="en-GB" smtClean="0"/>
              <a:t>‹nr.›</a:t>
            </a:fld>
            <a:endParaRPr lang="en-GB" dirty="0"/>
          </a:p>
        </p:txBody>
      </p:sp>
      <p:sp>
        <p:nvSpPr>
          <p:cNvPr id="10" name="Tijdelijke aanduiding voor inhoud 2">
            <a:extLst>
              <a:ext uri="{FF2B5EF4-FFF2-40B4-BE49-F238E27FC236}">
                <a16:creationId xmlns:a16="http://schemas.microsoft.com/office/drawing/2014/main" id="{A36E8A0D-C14B-634D-53DA-EC9E9F1D2B96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58813" y="2457750"/>
            <a:ext cx="5112000" cy="3924000"/>
          </a:xfrm>
        </p:spPr>
        <p:txBody>
          <a:bodyPr/>
          <a:lstStyle/>
          <a:p>
            <a:r>
              <a:rPr lang="en-GB"/>
              <a:t>Type your text here, or insert one of the other types of content, such as a chart or table, by clicking on the corresponding icon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Tijdelijke aanduiding voor inhoud 3">
            <a:extLst>
              <a:ext uri="{FF2B5EF4-FFF2-40B4-BE49-F238E27FC236}">
                <a16:creationId xmlns:a16="http://schemas.microsoft.com/office/drawing/2014/main" id="{35F7DB49-F9B2-EFBE-E5AC-EC78ED4BFE1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421188" y="2457750"/>
            <a:ext cx="5112000" cy="3924000"/>
          </a:xfrm>
        </p:spPr>
        <p:txBody>
          <a:bodyPr/>
          <a:lstStyle/>
          <a:p>
            <a:r>
              <a:rPr lang="en-GB"/>
              <a:t>Type your text here, or insert one of the other types of content, such as a chart or table, by clicking on the corresponding icon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ED71652D-2090-3A8C-9DBE-8F35B3C62C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Title</a:t>
            </a:r>
            <a:endParaRPr lang="en-GB" dirty="0"/>
          </a:p>
        </p:txBody>
      </p:sp>
      <p:sp>
        <p:nvSpPr>
          <p:cNvPr id="2" name="Tijdelijke aanduiding voor tekst 4">
            <a:extLst>
              <a:ext uri="{FF2B5EF4-FFF2-40B4-BE49-F238E27FC236}">
                <a16:creationId xmlns:a16="http://schemas.microsoft.com/office/drawing/2014/main" id="{A73C82AC-D850-A580-7F14-A7C40A0948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8813" y="1592263"/>
            <a:ext cx="10875600" cy="284437"/>
          </a:xfrm>
        </p:spPr>
        <p:txBody>
          <a:bodyPr anchor="t" anchorCtr="0">
            <a:sp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889969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20" userDrawn="1">
          <p15:clr>
            <a:srgbClr val="FBAE40"/>
          </p15:clr>
        </p15:guide>
        <p15:guide id="2" orient="horz" pos="1321" userDrawn="1">
          <p15:clr>
            <a:srgbClr val="FBAE40"/>
          </p15:clr>
        </p15:guide>
        <p15:guide id="3" orient="horz" pos="1003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432AF09D-908F-B984-D6E9-BCB52114998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58813" y="2097088"/>
            <a:ext cx="3348000" cy="252826"/>
          </a:xfrm>
        </p:spPr>
        <p:txBody>
          <a:bodyPr anchor="t" anchorCtr="0">
            <a:sp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51AA4E67-ECFD-B788-8D8E-502DC454A74F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4422000" y="2097088"/>
            <a:ext cx="3348000" cy="252826"/>
          </a:xfrm>
        </p:spPr>
        <p:txBody>
          <a:bodyPr anchor="t" anchorCtr="0">
            <a:sp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A1C2FC40-86A3-BEDD-3207-2EFA1F4FA7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esentation name</a:t>
            </a:r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E751B6A2-2396-AA5A-7613-2D2F4E96DA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68079" y="6557979"/>
            <a:ext cx="165109" cy="153888"/>
          </a:xfrm>
        </p:spPr>
        <p:txBody>
          <a:bodyPr/>
          <a:lstStyle/>
          <a:p>
            <a:fld id="{08695EC5-0A0B-43EA-AE57-9F63CF72E121}" type="slidenum">
              <a:rPr lang="en-GB" smtClean="0"/>
              <a:t>‹nr.›</a:t>
            </a:fld>
            <a:endParaRPr lang="en-GB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ED71652D-2090-3A8C-9DBE-8F35B3C62C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Title</a:t>
            </a:r>
            <a:endParaRPr lang="en-GB" dirty="0"/>
          </a:p>
        </p:txBody>
      </p:sp>
      <p:sp>
        <p:nvSpPr>
          <p:cNvPr id="2" name="Tijdelijke aanduiding voor tekst 4">
            <a:extLst>
              <a:ext uri="{FF2B5EF4-FFF2-40B4-BE49-F238E27FC236}">
                <a16:creationId xmlns:a16="http://schemas.microsoft.com/office/drawing/2014/main" id="{70BB2985-ACC3-EBF4-DCDD-0AE57688E20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85188" y="2097088"/>
            <a:ext cx="3348000" cy="252826"/>
          </a:xfrm>
        </p:spPr>
        <p:txBody>
          <a:bodyPr anchor="t" anchorCtr="0">
            <a:sp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7" name="Tijdelijke aanduiding voor tekst 4">
            <a:extLst>
              <a:ext uri="{FF2B5EF4-FFF2-40B4-BE49-F238E27FC236}">
                <a16:creationId xmlns:a16="http://schemas.microsoft.com/office/drawing/2014/main" id="{BB88406B-9707-7B9C-BB8C-C8D3528CB9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8813" y="1592263"/>
            <a:ext cx="10875600" cy="284437"/>
          </a:xfrm>
        </p:spPr>
        <p:txBody>
          <a:bodyPr wrap="square" anchor="t" anchorCtr="0">
            <a:sp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6" name="Tijdelijke aanduiding voor inhoud 2">
            <a:extLst>
              <a:ext uri="{FF2B5EF4-FFF2-40B4-BE49-F238E27FC236}">
                <a16:creationId xmlns:a16="http://schemas.microsoft.com/office/drawing/2014/main" id="{302CE703-A10A-A898-683E-3DC96C49BE8C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58813" y="2457750"/>
            <a:ext cx="3348000" cy="3924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r>
              <a:rPr lang="en-GB"/>
              <a:t>Type your text here, or insert one of the other types of content, such as a chart or table, by clicking on the corresponding icon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3" name="Tijdelijke aanduiding voor inhoud 3">
            <a:extLst>
              <a:ext uri="{FF2B5EF4-FFF2-40B4-BE49-F238E27FC236}">
                <a16:creationId xmlns:a16="http://schemas.microsoft.com/office/drawing/2014/main" id="{2A718D21-B370-C75D-78A4-C4994A355E1F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22000" y="2457750"/>
            <a:ext cx="3348000" cy="3924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r>
              <a:rPr lang="en-GB"/>
              <a:t>Type your text here, or insert one of the other types of content, such as a chart or table, by clicking on the corresponding icon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ijdelijke aanduiding voor inhoud 3">
            <a:extLst>
              <a:ext uri="{FF2B5EF4-FFF2-40B4-BE49-F238E27FC236}">
                <a16:creationId xmlns:a16="http://schemas.microsoft.com/office/drawing/2014/main" id="{CE3EF199-429C-01B4-889B-483A0BBEBB7A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8185188" y="2457750"/>
            <a:ext cx="3348000" cy="3924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r>
              <a:rPr lang="en-GB"/>
              <a:t>Type your text here, or insert one of the other types of content, such as a chart or table, by clicking on the corresponding icon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46885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orient="horz" pos="1321" userDrawn="1">
          <p15:clr>
            <a:srgbClr val="FBAE40"/>
          </p15:clr>
        </p15:guide>
        <p15:guide id="3" orient="horz" pos="1003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2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image" Target="../media/image2.svg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image" Target="../media/image2.svg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53C538F1-9670-3EAA-CA16-40778A2422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3" y="1053973"/>
            <a:ext cx="10874375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ABCE7EBB-3301-6C84-5D28-E658A08572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58813" y="2097087"/>
            <a:ext cx="10874375" cy="40310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731B13B7-23B0-0C4C-14C6-566D7D48BC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8813" y="6557979"/>
            <a:ext cx="54000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Presentation name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95A8246-544A-277F-7D09-808FDAD16F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8079" y="6557979"/>
            <a:ext cx="165109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08695EC5-0A0B-43EA-AE57-9F63CF72E121}" type="slidenum">
              <a:rPr lang="en-GB" noProof="0" smtClean="0"/>
              <a:pPr/>
              <a:t>‹nr.›</a:t>
            </a:fld>
            <a:endParaRPr lang="en-GB" noProof="0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412F57DF-2F34-0D0D-8F14-7E7D4D5B9E33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9338853" y="87222"/>
            <a:ext cx="2442741" cy="701448"/>
          </a:xfrm>
          <a:prstGeom prst="rect">
            <a:avLst/>
          </a:prstGeom>
        </p:spPr>
      </p:pic>
      <p:sp>
        <p:nvSpPr>
          <p:cNvPr id="9" name="Rechthoek 8">
            <a:extLst>
              <a:ext uri="{FF2B5EF4-FFF2-40B4-BE49-F238E27FC236}">
                <a16:creationId xmlns:a16="http://schemas.microsoft.com/office/drawing/2014/main" id="{8D782039-9B68-1904-E13E-9CA63884E434}"/>
              </a:ext>
            </a:extLst>
          </p:cNvPr>
          <p:cNvSpPr/>
          <p:nvPr userDrawn="1"/>
        </p:nvSpPr>
        <p:spPr>
          <a:xfrm>
            <a:off x="658813" y="790647"/>
            <a:ext cx="6051370" cy="123753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80000"/>
                </a:schemeClr>
              </a:gs>
              <a:gs pos="100000">
                <a:schemeClr val="accent1">
                  <a:alpha val="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445631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49" r:id="rId2"/>
    <p:sldLayoutId id="2147483658" r:id="rId3"/>
    <p:sldLayoutId id="2147483683" r:id="rId4"/>
    <p:sldLayoutId id="2147483689" r:id="rId5"/>
    <p:sldLayoutId id="2147483650" r:id="rId6"/>
    <p:sldLayoutId id="2147483652" r:id="rId7"/>
    <p:sldLayoutId id="2147483653" r:id="rId8"/>
    <p:sldLayoutId id="2147483657" r:id="rId9"/>
    <p:sldLayoutId id="2147483656" r:id="rId10"/>
    <p:sldLayoutId id="2147483654" r:id="rId11"/>
    <p:sldLayoutId id="2147483655" r:id="rId12"/>
    <p:sldLayoutId id="2147483659" r:id="rId13"/>
    <p:sldLayoutId id="2147483684" r:id="rId14"/>
    <p:sldLayoutId id="2147483693" r:id="rId15"/>
    <p:sldLayoutId id="2147483692" r:id="rId16"/>
    <p:sldLayoutId id="2147483694" r:id="rId17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7800" indent="-177800" algn="l" defTabSz="914400" rtl="0" eaLnBrk="1" latinLnBrk="0" hangingPunct="1">
        <a:lnSpc>
          <a:spcPct val="114000"/>
        </a:lnSpc>
        <a:spcBef>
          <a:spcPts val="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82563" algn="l" defTabSz="914400" rtl="0" eaLnBrk="1" latinLnBrk="0" hangingPunct="1">
        <a:lnSpc>
          <a:spcPct val="114000"/>
        </a:lnSpc>
        <a:spcBef>
          <a:spcPts val="0"/>
        </a:spcBef>
        <a:buFont typeface="Grandview" panose="020B050204020402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7800" algn="l" defTabSz="914400" rtl="0" eaLnBrk="1" latinLnBrk="0" hangingPunct="1">
        <a:lnSpc>
          <a:spcPct val="114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77800" algn="l" defTabSz="914400" rtl="0" eaLnBrk="1" latinLnBrk="0" hangingPunct="1">
        <a:lnSpc>
          <a:spcPct val="114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400" rtl="0" eaLnBrk="1" latinLnBrk="0" hangingPunct="1">
        <a:lnSpc>
          <a:spcPct val="114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415" userDrawn="1">
          <p15:clr>
            <a:srgbClr val="F26B43"/>
          </p15:clr>
        </p15:guide>
        <p15:guide id="3" pos="726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53C538F1-9670-3EAA-CA16-40778A2422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3" y="1053973"/>
            <a:ext cx="10874375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ABCE7EBB-3301-6C84-5D28-E658A08572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58813" y="2097087"/>
            <a:ext cx="10874375" cy="40310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731B13B7-23B0-0C4C-14C6-566D7D48BC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8813" y="6557979"/>
            <a:ext cx="54000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Presentation name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95A8246-544A-277F-7D09-808FDAD16F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8079" y="6557979"/>
            <a:ext cx="165109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08695EC5-0A0B-43EA-AE57-9F63CF72E121}" type="slidenum">
              <a:rPr lang="en-GB" noProof="0" smtClean="0"/>
              <a:pPr/>
              <a:t>‹nr.›</a:t>
            </a:fld>
            <a:endParaRPr lang="en-GB" noProof="0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412F57DF-2F34-0D0D-8F14-7E7D4D5B9E33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338853" y="87222"/>
            <a:ext cx="2442741" cy="701448"/>
          </a:xfrm>
          <a:prstGeom prst="rect">
            <a:avLst/>
          </a:prstGeom>
        </p:spPr>
      </p:pic>
      <p:sp>
        <p:nvSpPr>
          <p:cNvPr id="9" name="Rechthoek 8">
            <a:extLst>
              <a:ext uri="{FF2B5EF4-FFF2-40B4-BE49-F238E27FC236}">
                <a16:creationId xmlns:a16="http://schemas.microsoft.com/office/drawing/2014/main" id="{8D782039-9B68-1904-E13E-9CA63884E434}"/>
              </a:ext>
            </a:extLst>
          </p:cNvPr>
          <p:cNvSpPr/>
          <p:nvPr userDrawn="1"/>
        </p:nvSpPr>
        <p:spPr>
          <a:xfrm>
            <a:off x="658813" y="790647"/>
            <a:ext cx="6051370" cy="123753"/>
          </a:xfrm>
          <a:prstGeom prst="rect">
            <a:avLst/>
          </a:prstGeom>
          <a:gradFill flip="none" rotWithShape="1">
            <a:gsLst>
              <a:gs pos="0">
                <a:schemeClr val="accent3">
                  <a:alpha val="70000"/>
                </a:schemeClr>
              </a:gs>
              <a:gs pos="100000">
                <a:schemeClr val="accent3">
                  <a:alpha val="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6947392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87" r:id="rId3"/>
    <p:sldLayoutId id="2147483690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  <p:sldLayoutId id="2147483663" r:id="rId1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7800" indent="-177800" algn="l" defTabSz="914400" rtl="0" eaLnBrk="1" latinLnBrk="0" hangingPunct="1">
        <a:lnSpc>
          <a:spcPct val="114000"/>
        </a:lnSpc>
        <a:spcBef>
          <a:spcPts val="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82563" algn="l" defTabSz="914400" rtl="0" eaLnBrk="1" latinLnBrk="0" hangingPunct="1">
        <a:lnSpc>
          <a:spcPct val="114000"/>
        </a:lnSpc>
        <a:spcBef>
          <a:spcPts val="0"/>
        </a:spcBef>
        <a:buFont typeface="Grandview" panose="020B050204020402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7800" algn="l" defTabSz="914400" rtl="0" eaLnBrk="1" latinLnBrk="0" hangingPunct="1">
        <a:lnSpc>
          <a:spcPct val="114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77800" algn="l" defTabSz="914400" rtl="0" eaLnBrk="1" latinLnBrk="0" hangingPunct="1">
        <a:lnSpc>
          <a:spcPct val="114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400" rtl="0" eaLnBrk="1" latinLnBrk="0" hangingPunct="1">
        <a:lnSpc>
          <a:spcPct val="114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415">
          <p15:clr>
            <a:srgbClr val="F26B43"/>
          </p15:clr>
        </p15:guide>
        <p15:guide id="3" pos="7265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53C538F1-9670-3EAA-CA16-40778A2422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3" y="1053973"/>
            <a:ext cx="10874375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ABCE7EBB-3301-6C84-5D28-E658A08572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58813" y="2097087"/>
            <a:ext cx="10874375" cy="40310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731B13B7-23B0-0C4C-14C6-566D7D48BC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8813" y="6557979"/>
            <a:ext cx="54000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Presentation name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95A8246-544A-277F-7D09-808FDAD16F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8079" y="6557979"/>
            <a:ext cx="165109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08695EC5-0A0B-43EA-AE57-9F63CF72E121}" type="slidenum">
              <a:rPr lang="en-GB" noProof="0" smtClean="0"/>
              <a:pPr/>
              <a:t>‹nr.›</a:t>
            </a:fld>
            <a:endParaRPr lang="en-GB" noProof="0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412F57DF-2F34-0D0D-8F14-7E7D4D5B9E33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338853" y="87222"/>
            <a:ext cx="2442741" cy="701448"/>
          </a:xfrm>
          <a:prstGeom prst="rect">
            <a:avLst/>
          </a:prstGeom>
        </p:spPr>
      </p:pic>
      <p:sp>
        <p:nvSpPr>
          <p:cNvPr id="9" name="Rechthoek 8">
            <a:extLst>
              <a:ext uri="{FF2B5EF4-FFF2-40B4-BE49-F238E27FC236}">
                <a16:creationId xmlns:a16="http://schemas.microsoft.com/office/drawing/2014/main" id="{8D782039-9B68-1904-E13E-9CA63884E434}"/>
              </a:ext>
            </a:extLst>
          </p:cNvPr>
          <p:cNvSpPr/>
          <p:nvPr userDrawn="1"/>
        </p:nvSpPr>
        <p:spPr>
          <a:xfrm>
            <a:off x="658813" y="790647"/>
            <a:ext cx="6051370" cy="123753"/>
          </a:xfrm>
          <a:prstGeom prst="rect">
            <a:avLst/>
          </a:prstGeom>
          <a:gradFill flip="none" rotWithShape="1">
            <a:gsLst>
              <a:gs pos="0">
                <a:schemeClr val="accent2">
                  <a:alpha val="80000"/>
                </a:schemeClr>
              </a:gs>
              <a:gs pos="100000">
                <a:schemeClr val="accent2">
                  <a:alpha val="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521617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88" r:id="rId3"/>
    <p:sldLayoutId id="2147483691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74" r:id="rId1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7800" indent="-177800" algn="l" defTabSz="914400" rtl="0" eaLnBrk="1" latinLnBrk="0" hangingPunct="1">
        <a:lnSpc>
          <a:spcPct val="114000"/>
        </a:lnSpc>
        <a:spcBef>
          <a:spcPts val="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82563" algn="l" defTabSz="914400" rtl="0" eaLnBrk="1" latinLnBrk="0" hangingPunct="1">
        <a:lnSpc>
          <a:spcPct val="114000"/>
        </a:lnSpc>
        <a:spcBef>
          <a:spcPts val="0"/>
        </a:spcBef>
        <a:buFont typeface="Grandview" panose="020B050204020402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7800" algn="l" defTabSz="914400" rtl="0" eaLnBrk="1" latinLnBrk="0" hangingPunct="1">
        <a:lnSpc>
          <a:spcPct val="114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77800" algn="l" defTabSz="914400" rtl="0" eaLnBrk="1" latinLnBrk="0" hangingPunct="1">
        <a:lnSpc>
          <a:spcPct val="114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400" rtl="0" eaLnBrk="1" latinLnBrk="0" hangingPunct="1">
        <a:lnSpc>
          <a:spcPct val="114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415">
          <p15:clr>
            <a:srgbClr val="F26B43"/>
          </p15:clr>
        </p15:guide>
        <p15:guide id="3" pos="726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3.jpe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2.png"/><Relationship Id="rId4" Type="http://schemas.openxmlformats.org/officeDocument/2006/relationships/image" Target="../media/image21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25.png"/><Relationship Id="rId4" Type="http://schemas.openxmlformats.org/officeDocument/2006/relationships/image" Target="../media/image10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Afbeelding 6">
            <a:extLst>
              <a:ext uri="{FF2B5EF4-FFF2-40B4-BE49-F238E27FC236}">
                <a16:creationId xmlns:a16="http://schemas.microsoft.com/office/drawing/2014/main" id="{91519D40-4CFE-ADE7-291A-4F721D9A7E3C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0" y="960074"/>
            <a:ext cx="12192000" cy="5897926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38726E55-5AB8-8606-8C8A-5634A57B9A0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9977" y="5680164"/>
            <a:ext cx="10377488" cy="526298"/>
          </a:xfrm>
        </p:spPr>
        <p:txBody>
          <a:bodyPr/>
          <a:lstStyle/>
          <a:p>
            <a:r>
              <a:rPr lang="nl-NL" dirty="0" err="1">
                <a:solidFill>
                  <a:srgbClr val="FFFF00"/>
                </a:solidFill>
              </a:rPr>
              <a:t>Automate</a:t>
            </a:r>
            <a:r>
              <a:rPr lang="nl-NL" dirty="0">
                <a:solidFill>
                  <a:srgbClr val="FFFF00"/>
                </a:solidFill>
              </a:rPr>
              <a:t> The Boring</a:t>
            </a:r>
            <a:br>
              <a:rPr lang="nl-NL" dirty="0">
                <a:solidFill>
                  <a:srgbClr val="FFFF00"/>
                </a:solidFill>
              </a:rPr>
            </a:br>
            <a:r>
              <a:rPr lang="nl-NL" dirty="0">
                <a:solidFill>
                  <a:srgbClr val="FFFF00"/>
                </a:solidFill>
              </a:rPr>
              <a:t>Engineer The </a:t>
            </a:r>
            <a:r>
              <a:rPr lang="nl-NL" dirty="0" err="1">
                <a:solidFill>
                  <a:srgbClr val="FFFF00"/>
                </a:solidFill>
              </a:rPr>
              <a:t>Awesome</a:t>
            </a:r>
            <a:endParaRPr lang="en-GB" dirty="0">
              <a:solidFill>
                <a:srgbClr val="FFFF00"/>
              </a:solidFill>
            </a:endParaRPr>
          </a:p>
        </p:txBody>
      </p:sp>
      <p:sp>
        <p:nvSpPr>
          <p:cNvPr id="26" name="Tekstvak 25">
            <a:extLst>
              <a:ext uri="{FF2B5EF4-FFF2-40B4-BE49-F238E27FC236}">
                <a16:creationId xmlns:a16="http://schemas.microsoft.com/office/drawing/2014/main" id="{4AC6FC02-EF22-5779-60B0-8A92F0F076C9}"/>
              </a:ext>
            </a:extLst>
          </p:cNvPr>
          <p:cNvSpPr txBox="1"/>
          <p:nvPr/>
        </p:nvSpPr>
        <p:spPr>
          <a:xfrm>
            <a:off x="509811" y="941663"/>
            <a:ext cx="10647654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endParaRPr lang="en-GB" sz="1200" b="0" i="0" u="none" strike="noStrike" baseline="0" dirty="0">
              <a:solidFill>
                <a:srgbClr val="000000"/>
              </a:solidFill>
              <a:latin typeface="Grandview Light"/>
            </a:endParaRPr>
          </a:p>
          <a:p>
            <a:r>
              <a:rPr lang="en-GB" sz="1200" b="1" i="0" u="none" strike="noStrike" baseline="0" dirty="0">
                <a:solidFill>
                  <a:srgbClr val="000000"/>
                </a:solidFill>
                <a:latin typeface="Grandview Light"/>
              </a:rPr>
              <a:t> </a:t>
            </a:r>
            <a:r>
              <a:rPr lang="en-GB" sz="4400" i="0" u="none" strike="noStrike" baseline="0" dirty="0">
                <a:solidFill>
                  <a:srgbClr val="FFFF00"/>
                </a:solidFill>
                <a:latin typeface="+mj-lt"/>
              </a:rPr>
              <a:t>CONSULTANCY  &amp; </a:t>
            </a:r>
          </a:p>
          <a:p>
            <a:r>
              <a:rPr lang="en-GB" sz="4400" i="0" u="none" strike="noStrike" baseline="0" dirty="0">
                <a:solidFill>
                  <a:srgbClr val="FFFF00"/>
                </a:solidFill>
                <a:latin typeface="+mj-lt"/>
              </a:rPr>
              <a:t>AUTOMATED  ENGINEERING</a:t>
            </a:r>
            <a:endParaRPr lang="en-GB" sz="4400" dirty="0">
              <a:solidFill>
                <a:srgbClr val="FFFF00"/>
              </a:solidFill>
              <a:latin typeface="+mj-lt"/>
            </a:endParaRPr>
          </a:p>
        </p:txBody>
      </p:sp>
      <p:pic>
        <p:nvPicPr>
          <p:cNvPr id="1033" name="Picture 9" descr="Europort - November 7-10 2023, Rotterdam Ahoy - CEDA Innovation Event">
            <a:extLst>
              <a:ext uri="{FF2B5EF4-FFF2-40B4-BE49-F238E27FC236}">
                <a16:creationId xmlns:a16="http://schemas.microsoft.com/office/drawing/2014/main" id="{5DEEBBB0-9529-CAB9-0BD7-A06F8F6F8E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5081" y="27033"/>
            <a:ext cx="1947279" cy="8558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5" name="Picture 11" descr="Europort - 7 t/m 10 november 2023 in Rotterdam Ahoy - Logo's">
            <a:extLst>
              <a:ext uri="{FF2B5EF4-FFF2-40B4-BE49-F238E27FC236}">
                <a16:creationId xmlns:a16="http://schemas.microsoft.com/office/drawing/2014/main" id="{A6654928-9B4F-F608-3740-830FE8A4B1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80" y="86855"/>
            <a:ext cx="2199490" cy="796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Dredging challenges | Royal IHC">
            <a:extLst>
              <a:ext uri="{FF2B5EF4-FFF2-40B4-BE49-F238E27FC236}">
                <a16:creationId xmlns:a16="http://schemas.microsoft.com/office/drawing/2014/main" id="{88647602-7826-F40A-F181-4F18331B7E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alphaModFix amt="7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62642" y="997409"/>
            <a:ext cx="3629358" cy="2719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377928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Afbeelding 6">
            <a:extLst>
              <a:ext uri="{FF2B5EF4-FFF2-40B4-BE49-F238E27FC236}">
                <a16:creationId xmlns:a16="http://schemas.microsoft.com/office/drawing/2014/main" id="{91519D40-4CFE-ADE7-291A-4F721D9A7E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60074"/>
            <a:ext cx="12192000" cy="5897926"/>
          </a:xfrm>
          <a:prstGeom prst="rect">
            <a:avLst/>
          </a:prstGeom>
        </p:spPr>
      </p:pic>
      <p:sp>
        <p:nvSpPr>
          <p:cNvPr id="18" name="AutoShape 3">
            <a:extLst>
              <a:ext uri="{FF2B5EF4-FFF2-40B4-BE49-F238E27FC236}">
                <a16:creationId xmlns:a16="http://schemas.microsoft.com/office/drawing/2014/main" id="{EA058672-9313-F60C-1800-64FE5993511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5233988" y="493348"/>
            <a:ext cx="6875462" cy="6364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6" name="Tekstvak 25">
            <a:extLst>
              <a:ext uri="{FF2B5EF4-FFF2-40B4-BE49-F238E27FC236}">
                <a16:creationId xmlns:a16="http://schemas.microsoft.com/office/drawing/2014/main" id="{4AC6FC02-EF22-5779-60B0-8A92F0F076C9}"/>
              </a:ext>
            </a:extLst>
          </p:cNvPr>
          <p:cNvSpPr txBox="1"/>
          <p:nvPr/>
        </p:nvSpPr>
        <p:spPr>
          <a:xfrm>
            <a:off x="542468" y="1049881"/>
            <a:ext cx="10647654" cy="77867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endParaRPr lang="en-GB" sz="1200" b="0" i="0" u="none" strike="noStrike" baseline="0" dirty="0">
              <a:solidFill>
                <a:srgbClr val="000000"/>
              </a:solidFill>
              <a:latin typeface="Grandview Light"/>
            </a:endParaRPr>
          </a:p>
          <a:p>
            <a:r>
              <a:rPr lang="en-GB" sz="1200" b="1" i="0" u="none" strike="noStrike" baseline="0" dirty="0">
                <a:solidFill>
                  <a:srgbClr val="000000"/>
                </a:solidFill>
                <a:latin typeface="Grandview Light"/>
              </a:rPr>
              <a:t> </a:t>
            </a:r>
            <a:r>
              <a:rPr lang="en-GB" sz="4400" i="0" u="none" strike="noStrike" baseline="0" dirty="0">
                <a:solidFill>
                  <a:srgbClr val="FFFF00"/>
                </a:solidFill>
                <a:latin typeface="+mj-lt"/>
              </a:rPr>
              <a:t>CONSULTANCY</a:t>
            </a:r>
          </a:p>
          <a:p>
            <a:endParaRPr lang="en-GB" sz="3200" i="0" u="none" strike="noStrike" baseline="0" dirty="0">
              <a:solidFill>
                <a:srgbClr val="FFFF00"/>
              </a:solidFill>
              <a:latin typeface="+mj-lt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4000" dirty="0">
                <a:solidFill>
                  <a:schemeClr val="accent1"/>
                </a:solidFill>
                <a:latin typeface="+mj-lt"/>
              </a:rPr>
              <a:t>Early involvement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4000" dirty="0">
                <a:solidFill>
                  <a:schemeClr val="accent1"/>
                </a:solidFill>
                <a:latin typeface="+mj-lt"/>
              </a:rPr>
              <a:t>Data &amp; event analysed modeling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4000" dirty="0">
                <a:solidFill>
                  <a:srgbClr val="FFFF00"/>
                </a:solidFill>
                <a:latin typeface="+mj-lt"/>
              </a:rPr>
              <a:t>Return of invest prognose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4000" dirty="0">
                <a:solidFill>
                  <a:srgbClr val="FFFF00"/>
                </a:solidFill>
                <a:latin typeface="+mj-lt"/>
              </a:rPr>
              <a:t>Total cost of ownership analyse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4000" dirty="0">
                <a:solidFill>
                  <a:srgbClr val="FFFF00"/>
                </a:solidFill>
                <a:latin typeface="+mj-lt"/>
              </a:rPr>
              <a:t>Maintenance analyse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4000" dirty="0">
                <a:solidFill>
                  <a:srgbClr val="FFFF00"/>
                </a:solidFill>
                <a:latin typeface="+mj-lt"/>
              </a:rPr>
              <a:t>Overall equipment effectivenes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4000" dirty="0">
                <a:solidFill>
                  <a:srgbClr val="FFFF00"/>
                </a:solidFill>
                <a:latin typeface="+mj-lt"/>
              </a:rPr>
              <a:t>Brand independent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en-GB" sz="4400" dirty="0">
              <a:solidFill>
                <a:srgbClr val="FFFF00"/>
              </a:solidFill>
              <a:latin typeface="+mj-lt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endParaRPr lang="en-GB" sz="4400" dirty="0">
              <a:solidFill>
                <a:srgbClr val="FFFF00"/>
              </a:solidFill>
              <a:latin typeface="+mj-lt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endParaRPr lang="en-GB" sz="4400" dirty="0">
              <a:solidFill>
                <a:srgbClr val="FFFF00"/>
              </a:solidFill>
              <a:latin typeface="+mj-lt"/>
            </a:endParaRPr>
          </a:p>
        </p:txBody>
      </p:sp>
      <p:sp>
        <p:nvSpPr>
          <p:cNvPr id="2" name="Rechthoek: afgeronde hoeken 1">
            <a:extLst>
              <a:ext uri="{FF2B5EF4-FFF2-40B4-BE49-F238E27FC236}">
                <a16:creationId xmlns:a16="http://schemas.microsoft.com/office/drawing/2014/main" id="{84E62D60-15B4-7024-24FD-365E16F76F25}"/>
              </a:ext>
            </a:extLst>
          </p:cNvPr>
          <p:cNvSpPr/>
          <p:nvPr/>
        </p:nvSpPr>
        <p:spPr>
          <a:xfrm>
            <a:off x="1001878" y="4850550"/>
            <a:ext cx="7768362" cy="653142"/>
          </a:xfrm>
          <a:prstGeom prst="roundRect">
            <a:avLst/>
          </a:prstGeom>
          <a:noFill/>
          <a:ln w="317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92210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Afbeelding 6">
            <a:extLst>
              <a:ext uri="{FF2B5EF4-FFF2-40B4-BE49-F238E27FC236}">
                <a16:creationId xmlns:a16="http://schemas.microsoft.com/office/drawing/2014/main" id="{91519D40-4CFE-ADE7-291A-4F721D9A7E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8" name="AutoShape 3">
            <a:extLst>
              <a:ext uri="{FF2B5EF4-FFF2-40B4-BE49-F238E27FC236}">
                <a16:creationId xmlns:a16="http://schemas.microsoft.com/office/drawing/2014/main" id="{EA058672-9313-F60C-1800-64FE5993511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5233988" y="493348"/>
            <a:ext cx="6875462" cy="6364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6" name="Tekstvak 25">
            <a:extLst>
              <a:ext uri="{FF2B5EF4-FFF2-40B4-BE49-F238E27FC236}">
                <a16:creationId xmlns:a16="http://schemas.microsoft.com/office/drawing/2014/main" id="{4AC6FC02-EF22-5779-60B0-8A92F0F076C9}"/>
              </a:ext>
            </a:extLst>
          </p:cNvPr>
          <p:cNvSpPr txBox="1"/>
          <p:nvPr/>
        </p:nvSpPr>
        <p:spPr>
          <a:xfrm>
            <a:off x="391824" y="420553"/>
            <a:ext cx="10647654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endParaRPr lang="en-GB" sz="1200" b="0" i="0" u="none" strike="noStrike" baseline="0" dirty="0">
              <a:solidFill>
                <a:srgbClr val="000000"/>
              </a:solidFill>
              <a:latin typeface="Grandview Light"/>
            </a:endParaRPr>
          </a:p>
          <a:p>
            <a:r>
              <a:rPr lang="en-GB" sz="1200" b="1" i="0" u="none" strike="noStrike" baseline="0" dirty="0">
                <a:solidFill>
                  <a:srgbClr val="000000"/>
                </a:solidFill>
                <a:latin typeface="Grandview Light"/>
              </a:rPr>
              <a:t> </a:t>
            </a:r>
            <a:r>
              <a:rPr lang="en-GB" sz="4400" b="1" i="0" u="none" strike="noStrike" baseline="0" dirty="0">
                <a:solidFill>
                  <a:srgbClr val="FFFF00"/>
                </a:solidFill>
                <a:latin typeface="+mj-lt"/>
              </a:rPr>
              <a:t>Maintenance analyses</a:t>
            </a:r>
            <a:endParaRPr lang="en-GB" sz="4400" dirty="0">
              <a:solidFill>
                <a:srgbClr val="FFFF00"/>
              </a:solidFill>
              <a:latin typeface="+mj-lt"/>
            </a:endParaRPr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6C40E7F0-C7C8-9C08-B18F-006F222170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29385" y="1670595"/>
            <a:ext cx="9138988" cy="4356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58765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Afbeelding 6">
            <a:extLst>
              <a:ext uri="{FF2B5EF4-FFF2-40B4-BE49-F238E27FC236}">
                <a16:creationId xmlns:a16="http://schemas.microsoft.com/office/drawing/2014/main" id="{91519D40-4CFE-ADE7-291A-4F721D9A7E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60074"/>
            <a:ext cx="12192000" cy="5897926"/>
          </a:xfrm>
          <a:prstGeom prst="rect">
            <a:avLst/>
          </a:prstGeom>
        </p:spPr>
      </p:pic>
      <p:sp>
        <p:nvSpPr>
          <p:cNvPr id="18" name="AutoShape 3">
            <a:extLst>
              <a:ext uri="{FF2B5EF4-FFF2-40B4-BE49-F238E27FC236}">
                <a16:creationId xmlns:a16="http://schemas.microsoft.com/office/drawing/2014/main" id="{EA058672-9313-F60C-1800-64FE5993511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5233988" y="493348"/>
            <a:ext cx="6875462" cy="6364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6" name="Tekstvak 25">
            <a:extLst>
              <a:ext uri="{FF2B5EF4-FFF2-40B4-BE49-F238E27FC236}">
                <a16:creationId xmlns:a16="http://schemas.microsoft.com/office/drawing/2014/main" id="{4AC6FC02-EF22-5779-60B0-8A92F0F076C9}"/>
              </a:ext>
            </a:extLst>
          </p:cNvPr>
          <p:cNvSpPr txBox="1"/>
          <p:nvPr/>
        </p:nvSpPr>
        <p:spPr>
          <a:xfrm>
            <a:off x="542468" y="1049881"/>
            <a:ext cx="10647654" cy="77867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endParaRPr lang="en-GB" sz="1200" b="0" i="0" u="none" strike="noStrike" baseline="0" dirty="0">
              <a:solidFill>
                <a:srgbClr val="000000"/>
              </a:solidFill>
              <a:latin typeface="Grandview Light"/>
            </a:endParaRPr>
          </a:p>
          <a:p>
            <a:r>
              <a:rPr lang="en-GB" sz="1200" b="1" i="0" u="none" strike="noStrike" baseline="0" dirty="0">
                <a:solidFill>
                  <a:srgbClr val="000000"/>
                </a:solidFill>
                <a:latin typeface="Grandview Light"/>
              </a:rPr>
              <a:t> </a:t>
            </a:r>
            <a:r>
              <a:rPr lang="en-GB" sz="4400" i="0" u="none" strike="noStrike" baseline="0" dirty="0">
                <a:solidFill>
                  <a:srgbClr val="FFFF00"/>
                </a:solidFill>
                <a:latin typeface="+mj-lt"/>
              </a:rPr>
              <a:t>CONSULTANCY</a:t>
            </a:r>
          </a:p>
          <a:p>
            <a:endParaRPr lang="en-GB" sz="3200" i="0" u="none" strike="noStrike" baseline="0" dirty="0">
              <a:solidFill>
                <a:srgbClr val="FFFF00"/>
              </a:solidFill>
              <a:latin typeface="+mj-lt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4000" dirty="0">
                <a:solidFill>
                  <a:schemeClr val="accent1"/>
                </a:solidFill>
                <a:latin typeface="+mj-lt"/>
              </a:rPr>
              <a:t>Early involvement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4000" dirty="0">
                <a:solidFill>
                  <a:schemeClr val="accent1"/>
                </a:solidFill>
                <a:latin typeface="+mj-lt"/>
              </a:rPr>
              <a:t>Data &amp; event analysed modeling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4000" dirty="0">
                <a:solidFill>
                  <a:srgbClr val="FFFF00"/>
                </a:solidFill>
                <a:latin typeface="+mj-lt"/>
              </a:rPr>
              <a:t>Return of invest prognose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4000" dirty="0">
                <a:solidFill>
                  <a:srgbClr val="FFFF00"/>
                </a:solidFill>
                <a:latin typeface="+mj-lt"/>
              </a:rPr>
              <a:t>Total cost of ownership analyse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4000" dirty="0">
                <a:solidFill>
                  <a:srgbClr val="FFFF00"/>
                </a:solidFill>
                <a:latin typeface="+mj-lt"/>
              </a:rPr>
              <a:t>Maintenance analyse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4000" dirty="0">
                <a:solidFill>
                  <a:srgbClr val="FFFF00"/>
                </a:solidFill>
                <a:latin typeface="+mj-lt"/>
              </a:rPr>
              <a:t>Overall equipment effectivenes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4000" dirty="0">
                <a:solidFill>
                  <a:srgbClr val="FFFF00"/>
                </a:solidFill>
                <a:latin typeface="+mj-lt"/>
              </a:rPr>
              <a:t>Brand independent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en-GB" sz="4400" dirty="0">
              <a:solidFill>
                <a:srgbClr val="FFFF00"/>
              </a:solidFill>
              <a:latin typeface="+mj-lt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endParaRPr lang="en-GB" sz="4400" dirty="0">
              <a:solidFill>
                <a:srgbClr val="FFFF00"/>
              </a:solidFill>
              <a:latin typeface="+mj-lt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endParaRPr lang="en-GB" sz="4400" dirty="0">
              <a:solidFill>
                <a:srgbClr val="FFFF00"/>
              </a:solidFill>
              <a:latin typeface="+mj-lt"/>
            </a:endParaRPr>
          </a:p>
        </p:txBody>
      </p:sp>
      <p:sp>
        <p:nvSpPr>
          <p:cNvPr id="2" name="Rechthoek: afgeronde hoeken 1">
            <a:extLst>
              <a:ext uri="{FF2B5EF4-FFF2-40B4-BE49-F238E27FC236}">
                <a16:creationId xmlns:a16="http://schemas.microsoft.com/office/drawing/2014/main" id="{84E62D60-15B4-7024-24FD-365E16F76F25}"/>
              </a:ext>
            </a:extLst>
          </p:cNvPr>
          <p:cNvSpPr/>
          <p:nvPr/>
        </p:nvSpPr>
        <p:spPr>
          <a:xfrm>
            <a:off x="999121" y="5481548"/>
            <a:ext cx="7768362" cy="653142"/>
          </a:xfrm>
          <a:prstGeom prst="roundRect">
            <a:avLst/>
          </a:prstGeom>
          <a:noFill/>
          <a:ln w="317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7304915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Afbeelding 6">
            <a:extLst>
              <a:ext uri="{FF2B5EF4-FFF2-40B4-BE49-F238E27FC236}">
                <a16:creationId xmlns:a16="http://schemas.microsoft.com/office/drawing/2014/main" id="{91519D40-4CFE-ADE7-291A-4F721D9A7E3C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99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8" name="AutoShape 3">
            <a:extLst>
              <a:ext uri="{FF2B5EF4-FFF2-40B4-BE49-F238E27FC236}">
                <a16:creationId xmlns:a16="http://schemas.microsoft.com/office/drawing/2014/main" id="{EA058672-9313-F60C-1800-64FE5993511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5233988" y="493348"/>
            <a:ext cx="6875462" cy="6364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6" name="Tekstvak 25">
            <a:extLst>
              <a:ext uri="{FF2B5EF4-FFF2-40B4-BE49-F238E27FC236}">
                <a16:creationId xmlns:a16="http://schemas.microsoft.com/office/drawing/2014/main" id="{4AC6FC02-EF22-5779-60B0-8A92F0F076C9}"/>
              </a:ext>
            </a:extLst>
          </p:cNvPr>
          <p:cNvSpPr txBox="1"/>
          <p:nvPr/>
        </p:nvSpPr>
        <p:spPr>
          <a:xfrm>
            <a:off x="391824" y="420553"/>
            <a:ext cx="10647654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endParaRPr lang="en-GB" sz="1200" b="0" i="0" u="none" strike="noStrike" baseline="0" dirty="0">
              <a:solidFill>
                <a:srgbClr val="000000"/>
              </a:solidFill>
              <a:latin typeface="Grandview Light"/>
            </a:endParaRPr>
          </a:p>
          <a:p>
            <a:r>
              <a:rPr lang="en-GB" sz="1200" b="1" i="0" u="none" strike="noStrike" baseline="0" dirty="0">
                <a:solidFill>
                  <a:srgbClr val="000000"/>
                </a:solidFill>
                <a:latin typeface="Grandview Light"/>
              </a:rPr>
              <a:t> </a:t>
            </a:r>
            <a:r>
              <a:rPr lang="en-GB" sz="4400" b="1" dirty="0">
                <a:solidFill>
                  <a:srgbClr val="FFFF00"/>
                </a:solidFill>
                <a:latin typeface="+mj-lt"/>
              </a:rPr>
              <a:t>Overall equipment effectiveness  (OEE)</a:t>
            </a:r>
            <a:endParaRPr lang="en-GB" sz="4400" dirty="0">
              <a:solidFill>
                <a:srgbClr val="FFFF00"/>
              </a:solidFill>
              <a:latin typeface="+mj-lt"/>
            </a:endParaRPr>
          </a:p>
        </p:txBody>
      </p:sp>
      <p:pic>
        <p:nvPicPr>
          <p:cNvPr id="3076" name="Picture 4" descr="OEE Calculation: Optimizing Overall Equipment Efficiency">
            <a:extLst>
              <a:ext uri="{FF2B5EF4-FFF2-40B4-BE49-F238E27FC236}">
                <a16:creationId xmlns:a16="http://schemas.microsoft.com/office/drawing/2014/main" id="{0A4501E1-A082-40D5-6CFF-F65860B1BF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alphaModFix amt="7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9882" y="2035277"/>
            <a:ext cx="7187260" cy="3755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757988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Afbeelding 6">
            <a:extLst>
              <a:ext uri="{FF2B5EF4-FFF2-40B4-BE49-F238E27FC236}">
                <a16:creationId xmlns:a16="http://schemas.microsoft.com/office/drawing/2014/main" id="{91519D40-4CFE-ADE7-291A-4F721D9A7E3C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99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8" name="AutoShape 3">
            <a:extLst>
              <a:ext uri="{FF2B5EF4-FFF2-40B4-BE49-F238E27FC236}">
                <a16:creationId xmlns:a16="http://schemas.microsoft.com/office/drawing/2014/main" id="{EA058672-9313-F60C-1800-64FE5993511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5233988" y="493348"/>
            <a:ext cx="6875462" cy="6364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6" name="Tekstvak 25">
            <a:extLst>
              <a:ext uri="{FF2B5EF4-FFF2-40B4-BE49-F238E27FC236}">
                <a16:creationId xmlns:a16="http://schemas.microsoft.com/office/drawing/2014/main" id="{4AC6FC02-EF22-5779-60B0-8A92F0F076C9}"/>
              </a:ext>
            </a:extLst>
          </p:cNvPr>
          <p:cNvSpPr txBox="1"/>
          <p:nvPr/>
        </p:nvSpPr>
        <p:spPr>
          <a:xfrm>
            <a:off x="511329" y="193200"/>
            <a:ext cx="10647654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endParaRPr lang="en-GB" sz="1200" b="0" i="0" u="none" strike="noStrike" baseline="0" dirty="0">
              <a:solidFill>
                <a:srgbClr val="000000"/>
              </a:solidFill>
              <a:latin typeface="Grandview Light"/>
            </a:endParaRPr>
          </a:p>
          <a:p>
            <a:r>
              <a:rPr lang="en-GB" sz="1200" b="1" i="0" u="none" strike="noStrike" baseline="0" dirty="0">
                <a:solidFill>
                  <a:srgbClr val="000000"/>
                </a:solidFill>
                <a:latin typeface="Grandview Light"/>
              </a:rPr>
              <a:t>                                                                   </a:t>
            </a:r>
            <a:r>
              <a:rPr lang="en-GB" sz="4400" b="1" dirty="0">
                <a:solidFill>
                  <a:srgbClr val="FFFF00"/>
                </a:solidFill>
                <a:latin typeface="+mj-lt"/>
              </a:rPr>
              <a:t>Automated Engineering</a:t>
            </a:r>
            <a:endParaRPr lang="en-GB" sz="4400" dirty="0">
              <a:solidFill>
                <a:srgbClr val="FFFF00"/>
              </a:solidFill>
              <a:latin typeface="+mj-lt"/>
            </a:endParaRPr>
          </a:p>
        </p:txBody>
      </p:sp>
      <p:sp>
        <p:nvSpPr>
          <p:cNvPr id="2" name="TextBox 8">
            <a:extLst>
              <a:ext uri="{FF2B5EF4-FFF2-40B4-BE49-F238E27FC236}">
                <a16:creationId xmlns:a16="http://schemas.microsoft.com/office/drawing/2014/main" id="{EC5732C8-EBDD-7C71-761F-27CFEEFD2510}"/>
              </a:ext>
            </a:extLst>
          </p:cNvPr>
          <p:cNvSpPr txBox="1"/>
          <p:nvPr/>
        </p:nvSpPr>
        <p:spPr>
          <a:xfrm>
            <a:off x="511329" y="1472047"/>
            <a:ext cx="4929183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buNone/>
            </a:pPr>
            <a:r>
              <a:rPr lang="en-GB" sz="2400" dirty="0"/>
              <a:t>Strong collaboration with TU Delft</a:t>
            </a:r>
          </a:p>
          <a:p>
            <a:pPr marL="0" indent="0">
              <a:buNone/>
            </a:pPr>
            <a:r>
              <a:rPr lang="en-GB" dirty="0"/>
              <a:t>Multiple internship and thesis projects realised</a:t>
            </a:r>
          </a:p>
        </p:txBody>
      </p:sp>
      <p:sp>
        <p:nvSpPr>
          <p:cNvPr id="3" name="TextBox 9">
            <a:extLst>
              <a:ext uri="{FF2B5EF4-FFF2-40B4-BE49-F238E27FC236}">
                <a16:creationId xmlns:a16="http://schemas.microsoft.com/office/drawing/2014/main" id="{B8ABE09D-175F-4BB7-134B-6AA23401C051}"/>
              </a:ext>
            </a:extLst>
          </p:cNvPr>
          <p:cNvSpPr txBox="1"/>
          <p:nvPr/>
        </p:nvSpPr>
        <p:spPr>
          <a:xfrm>
            <a:off x="6285741" y="1472046"/>
            <a:ext cx="5583260" cy="64633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nl-NL" sz="2400" dirty="0" err="1"/>
              <a:t>Matlab</a:t>
            </a:r>
            <a:r>
              <a:rPr lang="nl-NL" sz="2400" dirty="0"/>
              <a:t> &amp; </a:t>
            </a:r>
            <a:r>
              <a:rPr lang="nl-NL" sz="2400" dirty="0" err="1"/>
              <a:t>Simulink</a:t>
            </a:r>
            <a:r>
              <a:rPr lang="nl-NL" sz="2400" dirty="0"/>
              <a:t> </a:t>
            </a:r>
            <a:r>
              <a:rPr lang="nl-NL" sz="2400" dirty="0" err="1"/>
              <a:t>simulation</a:t>
            </a:r>
            <a:r>
              <a:rPr lang="nl-NL" sz="2400" dirty="0"/>
              <a:t> software</a:t>
            </a:r>
          </a:p>
          <a:p>
            <a:pPr marL="0" indent="0">
              <a:buNone/>
            </a:pPr>
            <a:r>
              <a:rPr lang="en-GB" dirty="0"/>
              <a:t>Advanced data visualisation and time domain analysis</a:t>
            </a:r>
            <a:endParaRPr lang="nl-NL" dirty="0"/>
          </a:p>
        </p:txBody>
      </p:sp>
      <p:sp>
        <p:nvSpPr>
          <p:cNvPr id="4" name="TextBox 12">
            <a:extLst>
              <a:ext uri="{FF2B5EF4-FFF2-40B4-BE49-F238E27FC236}">
                <a16:creationId xmlns:a16="http://schemas.microsoft.com/office/drawing/2014/main" id="{429F50AB-E448-12A2-8B44-EDFBFFB70BE5}"/>
              </a:ext>
            </a:extLst>
          </p:cNvPr>
          <p:cNvSpPr txBox="1"/>
          <p:nvPr/>
        </p:nvSpPr>
        <p:spPr>
          <a:xfrm>
            <a:off x="3977631" y="2430918"/>
            <a:ext cx="4236737" cy="64633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NL" sz="2400" dirty="0"/>
              <a:t>ETAP </a:t>
            </a:r>
            <a:r>
              <a:rPr lang="nl-NL" sz="2400" dirty="0" err="1"/>
              <a:t>simulation</a:t>
            </a:r>
            <a:r>
              <a:rPr lang="nl-NL" sz="2400" dirty="0"/>
              <a:t> software</a:t>
            </a:r>
          </a:p>
          <a:p>
            <a:r>
              <a:rPr lang="nl-NL" dirty="0"/>
              <a:t>Advanced power system analysis studies</a:t>
            </a:r>
            <a:endParaRPr lang="en-GB" sz="1600" dirty="0"/>
          </a:p>
        </p:txBody>
      </p:sp>
      <p:pic>
        <p:nvPicPr>
          <p:cNvPr id="5" name="Picture 5" descr="A black and blue logo&#10;&#10;Description automatically generated">
            <a:extLst>
              <a:ext uri="{FF2B5EF4-FFF2-40B4-BE49-F238E27FC236}">
                <a16:creationId xmlns:a16="http://schemas.microsoft.com/office/drawing/2014/main" id="{DE3DE13B-62C2-B2F0-5D2B-A2948091C7C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97" t="7931" r="10145" b="33755"/>
          <a:stretch/>
        </p:blipFill>
        <p:spPr>
          <a:xfrm>
            <a:off x="0" y="3278507"/>
            <a:ext cx="3420000" cy="1461116"/>
          </a:xfrm>
          <a:prstGeom prst="rect">
            <a:avLst/>
          </a:prstGeom>
        </p:spPr>
      </p:pic>
      <p:pic>
        <p:nvPicPr>
          <p:cNvPr id="6" name="Picture 2" descr="About MATLAB and Simulink - Matlab &amp; Simulink - MATLAB &amp; Simulink -  İstanbul Okan Üniversitesi">
            <a:extLst>
              <a:ext uri="{FF2B5EF4-FFF2-40B4-BE49-F238E27FC236}">
                <a16:creationId xmlns:a16="http://schemas.microsoft.com/office/drawing/2014/main" id="{A49C6BC0-69A8-0330-B635-C2048814DB5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alphaModFix amt="4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53" t="12889" r="9195" b="12432"/>
          <a:stretch/>
        </p:blipFill>
        <p:spPr bwMode="auto">
          <a:xfrm>
            <a:off x="8653988" y="3675673"/>
            <a:ext cx="3420000" cy="11858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Placeholder 2">
            <a:extLst>
              <a:ext uri="{FF2B5EF4-FFF2-40B4-BE49-F238E27FC236}">
                <a16:creationId xmlns:a16="http://schemas.microsoft.com/office/drawing/2014/main" id="{E004234D-BD47-258A-3EB3-91F62D7727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alphaModFix amt="3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52" b="664"/>
          <a:stretch/>
        </p:blipFill>
        <p:spPr>
          <a:xfrm>
            <a:off x="4147404" y="4680834"/>
            <a:ext cx="3420000" cy="1410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74371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Afbeelding 6">
            <a:extLst>
              <a:ext uri="{FF2B5EF4-FFF2-40B4-BE49-F238E27FC236}">
                <a16:creationId xmlns:a16="http://schemas.microsoft.com/office/drawing/2014/main" id="{91519D40-4CFE-ADE7-291A-4F721D9A7E3C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99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8" name="AutoShape 3">
            <a:extLst>
              <a:ext uri="{FF2B5EF4-FFF2-40B4-BE49-F238E27FC236}">
                <a16:creationId xmlns:a16="http://schemas.microsoft.com/office/drawing/2014/main" id="{EA058672-9313-F60C-1800-64FE5993511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5233988" y="493348"/>
            <a:ext cx="6875462" cy="6364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6" name="Tekstvak 25">
            <a:extLst>
              <a:ext uri="{FF2B5EF4-FFF2-40B4-BE49-F238E27FC236}">
                <a16:creationId xmlns:a16="http://schemas.microsoft.com/office/drawing/2014/main" id="{4AC6FC02-EF22-5779-60B0-8A92F0F076C9}"/>
              </a:ext>
            </a:extLst>
          </p:cNvPr>
          <p:cNvSpPr txBox="1"/>
          <p:nvPr/>
        </p:nvSpPr>
        <p:spPr>
          <a:xfrm>
            <a:off x="511329" y="193200"/>
            <a:ext cx="10647654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endParaRPr lang="en-GB" sz="1200" b="0" i="0" u="none" strike="noStrike" baseline="0" dirty="0">
              <a:solidFill>
                <a:srgbClr val="000000"/>
              </a:solidFill>
              <a:latin typeface="Grandview Light"/>
            </a:endParaRPr>
          </a:p>
          <a:p>
            <a:r>
              <a:rPr lang="en-GB" sz="1200" b="1" i="0" u="none" strike="noStrike" baseline="0" dirty="0">
                <a:solidFill>
                  <a:srgbClr val="000000"/>
                </a:solidFill>
                <a:latin typeface="Grandview Light"/>
              </a:rPr>
              <a:t>                                                                   </a:t>
            </a:r>
            <a:r>
              <a:rPr lang="en-GB" sz="4400" b="1" dirty="0">
                <a:solidFill>
                  <a:srgbClr val="FFFF00"/>
                </a:solidFill>
                <a:latin typeface="+mj-lt"/>
              </a:rPr>
              <a:t>Automated Engineering</a:t>
            </a:r>
            <a:endParaRPr lang="en-GB" sz="4400" dirty="0">
              <a:solidFill>
                <a:srgbClr val="FFFF00"/>
              </a:solidFill>
              <a:latin typeface="+mj-lt"/>
            </a:endParaRPr>
          </a:p>
        </p:txBody>
      </p:sp>
      <p:pic>
        <p:nvPicPr>
          <p:cNvPr id="8" name="Content Placeholder 7" descr="A diagram of a machine&#10;&#10;Description automatically generated">
            <a:extLst>
              <a:ext uri="{FF2B5EF4-FFF2-40B4-BE49-F238E27FC236}">
                <a16:creationId xmlns:a16="http://schemas.microsoft.com/office/drawing/2014/main" id="{F8F0FFDB-BD8E-657E-DFD2-20B413845BD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281"/>
          <a:stretch/>
        </p:blipFill>
        <p:spPr>
          <a:xfrm>
            <a:off x="619118" y="1340507"/>
            <a:ext cx="10953764" cy="5312673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27FC9C5-9BDB-DD3D-497E-3C90D488AADE}"/>
              </a:ext>
            </a:extLst>
          </p:cNvPr>
          <p:cNvSpPr txBox="1">
            <a:spLocks/>
          </p:cNvSpPr>
          <p:nvPr/>
        </p:nvSpPr>
        <p:spPr>
          <a:xfrm>
            <a:off x="658813" y="1592263"/>
            <a:ext cx="10875600" cy="284437"/>
          </a:xfrm>
          <a:prstGeom prst="rect">
            <a:avLst/>
          </a:prstGeom>
        </p:spPr>
        <p:txBody>
          <a:bodyPr/>
          <a:lstStyle>
            <a:lvl1pPr marL="177800" indent="-177800" algn="l" defTabSz="914400" rtl="0" eaLnBrk="1" latinLnBrk="0" hangingPunct="1">
              <a:lnSpc>
                <a:spcPct val="114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2563" algn="l" defTabSz="914400" rtl="0" eaLnBrk="1" latinLnBrk="0" hangingPunct="1">
              <a:lnSpc>
                <a:spcPct val="114000"/>
              </a:lnSpc>
              <a:spcBef>
                <a:spcPts val="0"/>
              </a:spcBef>
              <a:buFont typeface="Grandview" panose="020B0502040204020203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7800" algn="l" defTabSz="914400" rtl="0" eaLnBrk="1" latinLnBrk="0" hangingPunct="1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7800" algn="l" defTabSz="914400" rtl="0" eaLnBrk="1" latinLnBrk="0" hangingPunct="1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/>
              <a:t>AC busbar simula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5078734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Afbeelding 6">
            <a:extLst>
              <a:ext uri="{FF2B5EF4-FFF2-40B4-BE49-F238E27FC236}">
                <a16:creationId xmlns:a16="http://schemas.microsoft.com/office/drawing/2014/main" id="{91519D40-4CFE-ADE7-291A-4F721D9A7E3C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99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8" name="AutoShape 3">
            <a:extLst>
              <a:ext uri="{FF2B5EF4-FFF2-40B4-BE49-F238E27FC236}">
                <a16:creationId xmlns:a16="http://schemas.microsoft.com/office/drawing/2014/main" id="{EA058672-9313-F60C-1800-64FE5993511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5233988" y="493348"/>
            <a:ext cx="6875462" cy="6364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6" name="Tekstvak 25">
            <a:extLst>
              <a:ext uri="{FF2B5EF4-FFF2-40B4-BE49-F238E27FC236}">
                <a16:creationId xmlns:a16="http://schemas.microsoft.com/office/drawing/2014/main" id="{4AC6FC02-EF22-5779-60B0-8A92F0F076C9}"/>
              </a:ext>
            </a:extLst>
          </p:cNvPr>
          <p:cNvSpPr txBox="1"/>
          <p:nvPr/>
        </p:nvSpPr>
        <p:spPr>
          <a:xfrm>
            <a:off x="511329" y="193200"/>
            <a:ext cx="10647654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endParaRPr lang="en-GB" sz="1200" b="0" i="0" u="none" strike="noStrike" baseline="0" dirty="0">
              <a:solidFill>
                <a:srgbClr val="000000"/>
              </a:solidFill>
              <a:latin typeface="Grandview Light"/>
            </a:endParaRPr>
          </a:p>
          <a:p>
            <a:r>
              <a:rPr lang="en-GB" sz="1200" b="1" i="0" u="none" strike="noStrike" baseline="0" dirty="0">
                <a:solidFill>
                  <a:srgbClr val="000000"/>
                </a:solidFill>
                <a:latin typeface="Grandview Light"/>
              </a:rPr>
              <a:t>                                                                   </a:t>
            </a:r>
            <a:r>
              <a:rPr lang="en-GB" sz="4400" b="1" dirty="0">
                <a:solidFill>
                  <a:srgbClr val="FFFF00"/>
                </a:solidFill>
                <a:latin typeface="+mj-lt"/>
              </a:rPr>
              <a:t>Automated Engineering</a:t>
            </a:r>
            <a:endParaRPr lang="en-GB" sz="4400" dirty="0">
              <a:solidFill>
                <a:srgbClr val="FFFF00"/>
              </a:solidFill>
              <a:latin typeface="+mj-lt"/>
            </a:endParaRPr>
          </a:p>
        </p:txBody>
      </p:sp>
      <p:pic>
        <p:nvPicPr>
          <p:cNvPr id="2" name="Content Placeholder 5" descr="A graph of a graph&#10;&#10;Description automatically generated">
            <a:extLst>
              <a:ext uri="{FF2B5EF4-FFF2-40B4-BE49-F238E27FC236}">
                <a16:creationId xmlns:a16="http://schemas.microsoft.com/office/drawing/2014/main" id="{5BB80966-CC44-195B-D881-7477A80926B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83" r="8428"/>
          <a:stretch/>
        </p:blipFill>
        <p:spPr>
          <a:xfrm>
            <a:off x="1405270" y="1340507"/>
            <a:ext cx="9587195" cy="5448828"/>
          </a:xfrm>
          <a:prstGeom prst="rect">
            <a:avLst/>
          </a:prstGeom>
        </p:spPr>
      </p:pic>
      <p:sp>
        <p:nvSpPr>
          <p:cNvPr id="3" name="Title 4">
            <a:extLst>
              <a:ext uri="{FF2B5EF4-FFF2-40B4-BE49-F238E27FC236}">
                <a16:creationId xmlns:a16="http://schemas.microsoft.com/office/drawing/2014/main" id="{71D1B57B-8B6B-4E3D-9853-20A89779FCE8}"/>
              </a:ext>
            </a:extLst>
          </p:cNvPr>
          <p:cNvSpPr txBox="1">
            <a:spLocks/>
          </p:cNvSpPr>
          <p:nvPr/>
        </p:nvSpPr>
        <p:spPr>
          <a:xfrm>
            <a:off x="2163148" y="1516005"/>
            <a:ext cx="10874375" cy="2492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9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sz="1800"/>
              <a:t>Time domain analysis</a:t>
            </a:r>
            <a:endParaRPr lang="en-GB" sz="1800" dirty="0"/>
          </a:p>
        </p:txBody>
      </p:sp>
    </p:spTree>
    <p:extLst>
      <p:ext uri="{BB962C8B-B14F-4D97-AF65-F5344CB8AC3E}">
        <p14:creationId xmlns:p14="http://schemas.microsoft.com/office/powerpoint/2010/main" val="28142676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Afbeelding 6">
            <a:extLst>
              <a:ext uri="{FF2B5EF4-FFF2-40B4-BE49-F238E27FC236}">
                <a16:creationId xmlns:a16="http://schemas.microsoft.com/office/drawing/2014/main" id="{91519D40-4CFE-ADE7-291A-4F721D9A7E3C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99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8" name="AutoShape 3">
            <a:extLst>
              <a:ext uri="{FF2B5EF4-FFF2-40B4-BE49-F238E27FC236}">
                <a16:creationId xmlns:a16="http://schemas.microsoft.com/office/drawing/2014/main" id="{EA058672-9313-F60C-1800-64FE5993511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5233988" y="493348"/>
            <a:ext cx="6875462" cy="6364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6" name="Tekstvak 25">
            <a:extLst>
              <a:ext uri="{FF2B5EF4-FFF2-40B4-BE49-F238E27FC236}">
                <a16:creationId xmlns:a16="http://schemas.microsoft.com/office/drawing/2014/main" id="{4AC6FC02-EF22-5779-60B0-8A92F0F076C9}"/>
              </a:ext>
            </a:extLst>
          </p:cNvPr>
          <p:cNvSpPr txBox="1"/>
          <p:nvPr/>
        </p:nvSpPr>
        <p:spPr>
          <a:xfrm>
            <a:off x="511329" y="193200"/>
            <a:ext cx="10647654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endParaRPr lang="en-GB" sz="1200" b="0" i="0" u="none" strike="noStrike" baseline="0" dirty="0">
              <a:solidFill>
                <a:srgbClr val="000000"/>
              </a:solidFill>
              <a:latin typeface="Grandview Light"/>
            </a:endParaRPr>
          </a:p>
          <a:p>
            <a:r>
              <a:rPr lang="en-GB" sz="1200" b="1" i="0" u="none" strike="noStrike" baseline="0" dirty="0">
                <a:solidFill>
                  <a:srgbClr val="000000"/>
                </a:solidFill>
                <a:latin typeface="Grandview Light"/>
              </a:rPr>
              <a:t>                                                                   </a:t>
            </a:r>
            <a:r>
              <a:rPr lang="en-GB" sz="4400" b="1" dirty="0">
                <a:solidFill>
                  <a:srgbClr val="FFFF00"/>
                </a:solidFill>
                <a:latin typeface="+mj-lt"/>
              </a:rPr>
              <a:t>Automated Engineering</a:t>
            </a:r>
            <a:endParaRPr lang="en-GB" sz="4400" dirty="0">
              <a:solidFill>
                <a:srgbClr val="FFFF00"/>
              </a:solidFill>
              <a:latin typeface="+mj-lt"/>
            </a:endParaRPr>
          </a:p>
        </p:txBody>
      </p:sp>
      <p:pic>
        <p:nvPicPr>
          <p:cNvPr id="4" name="etap-load-flow">
            <a:hlinkClick r:id="" action="ppaction://media"/>
            <a:extLst>
              <a:ext uri="{FF2B5EF4-FFF2-40B4-BE49-F238E27FC236}">
                <a16:creationId xmlns:a16="http://schemas.microsoft.com/office/drawing/2014/main" id="{B2B6B7ED-CD72-08D6-8FDF-0E8FF36F86FD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22401" r="22377"/>
          <a:stretch/>
        </p:blipFill>
        <p:spPr>
          <a:xfrm>
            <a:off x="2097948" y="1578885"/>
            <a:ext cx="7753974" cy="5085915"/>
          </a:xfrm>
          <a:prstGeom prst="rect">
            <a:avLst/>
          </a:prstGeom>
        </p:spPr>
      </p:pic>
      <p:sp>
        <p:nvSpPr>
          <p:cNvPr id="3" name="Title 4">
            <a:extLst>
              <a:ext uri="{FF2B5EF4-FFF2-40B4-BE49-F238E27FC236}">
                <a16:creationId xmlns:a16="http://schemas.microsoft.com/office/drawing/2014/main" id="{71D1B57B-8B6B-4E3D-9853-20A89779FCE8}"/>
              </a:ext>
            </a:extLst>
          </p:cNvPr>
          <p:cNvSpPr txBox="1">
            <a:spLocks/>
          </p:cNvSpPr>
          <p:nvPr/>
        </p:nvSpPr>
        <p:spPr>
          <a:xfrm>
            <a:off x="2222141" y="2155101"/>
            <a:ext cx="10874375" cy="2492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9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sz="1800" dirty="0"/>
              <a:t>Load flow analysis</a:t>
            </a:r>
            <a:endParaRPr lang="en-GB" sz="1800" dirty="0"/>
          </a:p>
        </p:txBody>
      </p:sp>
    </p:spTree>
    <p:extLst>
      <p:ext uri="{BB962C8B-B14F-4D97-AF65-F5344CB8AC3E}">
        <p14:creationId xmlns:p14="http://schemas.microsoft.com/office/powerpoint/2010/main" val="8197074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670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  <p:video>
              <p:cMediaNode vol="80000">
                <p:cTn id="12" repeatCount="indefinite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Afbeelding 6">
            <a:extLst>
              <a:ext uri="{FF2B5EF4-FFF2-40B4-BE49-F238E27FC236}">
                <a16:creationId xmlns:a16="http://schemas.microsoft.com/office/drawing/2014/main" id="{91519D40-4CFE-ADE7-291A-4F721D9A7E3C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99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8" name="AutoShape 3">
            <a:extLst>
              <a:ext uri="{FF2B5EF4-FFF2-40B4-BE49-F238E27FC236}">
                <a16:creationId xmlns:a16="http://schemas.microsoft.com/office/drawing/2014/main" id="{EA058672-9313-F60C-1800-64FE5993511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5233988" y="493348"/>
            <a:ext cx="6875462" cy="6364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6" name="Tekstvak 25">
            <a:extLst>
              <a:ext uri="{FF2B5EF4-FFF2-40B4-BE49-F238E27FC236}">
                <a16:creationId xmlns:a16="http://schemas.microsoft.com/office/drawing/2014/main" id="{4AC6FC02-EF22-5779-60B0-8A92F0F076C9}"/>
              </a:ext>
            </a:extLst>
          </p:cNvPr>
          <p:cNvSpPr txBox="1"/>
          <p:nvPr/>
        </p:nvSpPr>
        <p:spPr>
          <a:xfrm>
            <a:off x="511329" y="193200"/>
            <a:ext cx="10647654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endParaRPr lang="en-GB" sz="1200" b="0" i="0" u="none" strike="noStrike" baseline="0" dirty="0">
              <a:solidFill>
                <a:srgbClr val="000000"/>
              </a:solidFill>
              <a:latin typeface="Grandview Light"/>
            </a:endParaRPr>
          </a:p>
          <a:p>
            <a:r>
              <a:rPr lang="en-GB" sz="1200" b="1" i="0" u="none" strike="noStrike" baseline="0" dirty="0">
                <a:solidFill>
                  <a:srgbClr val="000000"/>
                </a:solidFill>
                <a:latin typeface="Grandview Light"/>
              </a:rPr>
              <a:t> </a:t>
            </a:r>
            <a:r>
              <a:rPr lang="en-GB" sz="4400" b="1" dirty="0">
                <a:solidFill>
                  <a:srgbClr val="FFFF00"/>
                </a:solidFill>
                <a:latin typeface="+mj-lt"/>
              </a:rPr>
              <a:t>Automated </a:t>
            </a:r>
          </a:p>
          <a:p>
            <a:r>
              <a:rPr lang="en-GB" sz="4400" b="1" dirty="0">
                <a:solidFill>
                  <a:srgbClr val="FFFF00"/>
                </a:solidFill>
                <a:latin typeface="+mj-lt"/>
              </a:rPr>
              <a:t>Engineering</a:t>
            </a:r>
            <a:endParaRPr lang="en-GB" sz="4400" dirty="0">
              <a:solidFill>
                <a:srgbClr val="FFFF00"/>
              </a:solidFill>
              <a:latin typeface="+mj-lt"/>
            </a:endParaRPr>
          </a:p>
        </p:txBody>
      </p:sp>
      <p:pic>
        <p:nvPicPr>
          <p:cNvPr id="2" name="Picture 3" descr="A diagram of a cable&#10;&#10;Description automatically generated">
            <a:extLst>
              <a:ext uri="{FF2B5EF4-FFF2-40B4-BE49-F238E27FC236}">
                <a16:creationId xmlns:a16="http://schemas.microsoft.com/office/drawing/2014/main" id="{95344D1E-3FAE-AFFF-D93A-ED4C71FF672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8684" y="286487"/>
            <a:ext cx="6013450" cy="6285025"/>
          </a:xfrm>
          <a:prstGeom prst="rect">
            <a:avLst/>
          </a:prstGeom>
        </p:spPr>
      </p:pic>
      <p:sp>
        <p:nvSpPr>
          <p:cNvPr id="3" name="Title 4">
            <a:extLst>
              <a:ext uri="{FF2B5EF4-FFF2-40B4-BE49-F238E27FC236}">
                <a16:creationId xmlns:a16="http://schemas.microsoft.com/office/drawing/2014/main" id="{71D1B57B-8B6B-4E3D-9853-20A89779FCE8}"/>
              </a:ext>
            </a:extLst>
          </p:cNvPr>
          <p:cNvSpPr txBox="1">
            <a:spLocks/>
          </p:cNvSpPr>
          <p:nvPr/>
        </p:nvSpPr>
        <p:spPr>
          <a:xfrm>
            <a:off x="8475459" y="5723170"/>
            <a:ext cx="3372414" cy="2492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9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sz="1800" dirty="0" err="1"/>
              <a:t>Protection</a:t>
            </a:r>
            <a:r>
              <a:rPr lang="nl-NL" sz="1800" dirty="0"/>
              <a:t> </a:t>
            </a:r>
            <a:r>
              <a:rPr lang="nl-NL" sz="1800" dirty="0" err="1"/>
              <a:t>and</a:t>
            </a:r>
            <a:r>
              <a:rPr lang="nl-NL" sz="1800" dirty="0"/>
              <a:t> </a:t>
            </a:r>
            <a:r>
              <a:rPr lang="nl-NL" sz="1800" dirty="0" err="1"/>
              <a:t>Selectivity</a:t>
            </a:r>
            <a:endParaRPr lang="en-GB" sz="1800" dirty="0"/>
          </a:p>
        </p:txBody>
      </p:sp>
    </p:spTree>
    <p:extLst>
      <p:ext uri="{BB962C8B-B14F-4D97-AF65-F5344CB8AC3E}">
        <p14:creationId xmlns:p14="http://schemas.microsoft.com/office/powerpoint/2010/main" val="390370388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Afbeelding 6">
            <a:extLst>
              <a:ext uri="{FF2B5EF4-FFF2-40B4-BE49-F238E27FC236}">
                <a16:creationId xmlns:a16="http://schemas.microsoft.com/office/drawing/2014/main" id="{91519D40-4CFE-ADE7-291A-4F721D9A7E3C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99000"/>
          </a:blip>
          <a:stretch>
            <a:fillRect/>
          </a:stretch>
        </p:blipFill>
        <p:spPr>
          <a:xfrm>
            <a:off x="0" y="924232"/>
            <a:ext cx="12192000" cy="5933768"/>
          </a:xfrm>
          <a:prstGeom prst="rect">
            <a:avLst/>
          </a:prstGeom>
        </p:spPr>
      </p:pic>
      <p:sp>
        <p:nvSpPr>
          <p:cNvPr id="18" name="AutoShape 3">
            <a:extLst>
              <a:ext uri="{FF2B5EF4-FFF2-40B4-BE49-F238E27FC236}">
                <a16:creationId xmlns:a16="http://schemas.microsoft.com/office/drawing/2014/main" id="{EA058672-9313-F60C-1800-64FE5993511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5233988" y="493348"/>
            <a:ext cx="6875462" cy="6364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6" name="Tekstvak 25">
            <a:extLst>
              <a:ext uri="{FF2B5EF4-FFF2-40B4-BE49-F238E27FC236}">
                <a16:creationId xmlns:a16="http://schemas.microsoft.com/office/drawing/2014/main" id="{4AC6FC02-EF22-5779-60B0-8A92F0F076C9}"/>
              </a:ext>
            </a:extLst>
          </p:cNvPr>
          <p:cNvSpPr txBox="1"/>
          <p:nvPr/>
        </p:nvSpPr>
        <p:spPr>
          <a:xfrm>
            <a:off x="373678" y="1693758"/>
            <a:ext cx="10647654" cy="50783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endParaRPr lang="en-GB" sz="1200" b="0" i="0" u="none" strike="noStrike" baseline="0" dirty="0">
              <a:solidFill>
                <a:srgbClr val="000000"/>
              </a:solidFill>
              <a:latin typeface="Grandview Light"/>
            </a:endParaRPr>
          </a:p>
          <a:p>
            <a:r>
              <a:rPr lang="en-GB" sz="1200" b="1" i="0" u="none" strike="noStrike" baseline="0" dirty="0">
                <a:solidFill>
                  <a:srgbClr val="000000"/>
                </a:solidFill>
                <a:latin typeface="Grandview Light"/>
              </a:rPr>
              <a:t> </a:t>
            </a:r>
            <a:r>
              <a:rPr lang="en-GB" sz="4400" b="1" dirty="0">
                <a:solidFill>
                  <a:srgbClr val="FF0000"/>
                </a:solidFill>
                <a:latin typeface="+mj-lt"/>
              </a:rPr>
              <a:t>Automated Engineering</a:t>
            </a:r>
          </a:p>
          <a:p>
            <a:endParaRPr lang="en-GB" sz="4400" b="1" dirty="0">
              <a:solidFill>
                <a:srgbClr val="FFFF00"/>
              </a:solidFill>
              <a:latin typeface="+mj-lt"/>
            </a:endParaRPr>
          </a:p>
          <a:p>
            <a:endParaRPr lang="en-GB" sz="4400" b="1" dirty="0">
              <a:solidFill>
                <a:srgbClr val="FFFF00"/>
              </a:solidFill>
              <a:latin typeface="+mj-lt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600" b="1" dirty="0">
                <a:solidFill>
                  <a:srgbClr val="FFFF00"/>
                </a:solidFill>
                <a:latin typeface="+mj-lt"/>
              </a:rPr>
              <a:t>Basic design in consultancy phase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600" b="1" dirty="0">
                <a:solidFill>
                  <a:srgbClr val="FFFF00"/>
                </a:solidFill>
                <a:latin typeface="+mj-lt"/>
              </a:rPr>
              <a:t>Proof of Concept with optimized solution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600" b="1" dirty="0">
                <a:solidFill>
                  <a:srgbClr val="FFFF00"/>
                </a:solidFill>
                <a:latin typeface="+mj-lt"/>
              </a:rPr>
              <a:t>Concurrent engineering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600" b="1" dirty="0">
                <a:solidFill>
                  <a:srgbClr val="FFFF00"/>
                </a:solidFill>
                <a:latin typeface="+mj-lt"/>
              </a:rPr>
              <a:t>Shorter engineering lead time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600" b="1" dirty="0">
                <a:solidFill>
                  <a:srgbClr val="FFFF00"/>
                </a:solidFill>
                <a:latin typeface="+mj-lt"/>
              </a:rPr>
              <a:t>Cost saving modeling</a:t>
            </a:r>
            <a:endParaRPr lang="en-GB" sz="3600" dirty="0">
              <a:solidFill>
                <a:srgbClr val="FFFF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9212613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Afbeelding 6">
            <a:extLst>
              <a:ext uri="{FF2B5EF4-FFF2-40B4-BE49-F238E27FC236}">
                <a16:creationId xmlns:a16="http://schemas.microsoft.com/office/drawing/2014/main" id="{91519D40-4CFE-ADE7-291A-4F721D9A7E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60074"/>
            <a:ext cx="12192000" cy="5897926"/>
          </a:xfrm>
          <a:prstGeom prst="rect">
            <a:avLst/>
          </a:prstGeom>
        </p:spPr>
      </p:pic>
      <p:sp>
        <p:nvSpPr>
          <p:cNvPr id="18" name="AutoShape 3">
            <a:extLst>
              <a:ext uri="{FF2B5EF4-FFF2-40B4-BE49-F238E27FC236}">
                <a16:creationId xmlns:a16="http://schemas.microsoft.com/office/drawing/2014/main" id="{EA058672-9313-F60C-1800-64FE5993511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5233988" y="493348"/>
            <a:ext cx="6875462" cy="6364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6" name="Tekstvak 25">
            <a:extLst>
              <a:ext uri="{FF2B5EF4-FFF2-40B4-BE49-F238E27FC236}">
                <a16:creationId xmlns:a16="http://schemas.microsoft.com/office/drawing/2014/main" id="{4AC6FC02-EF22-5779-60B0-8A92F0F076C9}"/>
              </a:ext>
            </a:extLst>
          </p:cNvPr>
          <p:cNvSpPr txBox="1"/>
          <p:nvPr/>
        </p:nvSpPr>
        <p:spPr>
          <a:xfrm>
            <a:off x="542468" y="1049881"/>
            <a:ext cx="10647654" cy="77867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endParaRPr lang="en-GB" sz="1200" b="0" i="0" u="none" strike="noStrike" baseline="0" dirty="0">
              <a:solidFill>
                <a:srgbClr val="000000"/>
              </a:solidFill>
              <a:latin typeface="Grandview Light"/>
            </a:endParaRPr>
          </a:p>
          <a:p>
            <a:r>
              <a:rPr lang="en-GB" sz="1200" b="1" i="0" u="none" strike="noStrike" baseline="0" dirty="0">
                <a:solidFill>
                  <a:srgbClr val="000000"/>
                </a:solidFill>
                <a:latin typeface="Grandview Light"/>
              </a:rPr>
              <a:t> </a:t>
            </a:r>
            <a:r>
              <a:rPr lang="en-GB" sz="4400" i="0" u="none" strike="noStrike" baseline="0" dirty="0">
                <a:solidFill>
                  <a:srgbClr val="FFFF00"/>
                </a:solidFill>
                <a:latin typeface="+mj-lt"/>
              </a:rPr>
              <a:t>CONSULTANCY</a:t>
            </a:r>
          </a:p>
          <a:p>
            <a:endParaRPr lang="en-GB" sz="3200" i="0" u="none" strike="noStrike" baseline="0" dirty="0">
              <a:solidFill>
                <a:srgbClr val="FFFF00"/>
              </a:solidFill>
              <a:latin typeface="+mj-lt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4000" b="1" dirty="0">
                <a:solidFill>
                  <a:schemeClr val="accent1"/>
                </a:solidFill>
                <a:latin typeface="+mj-lt"/>
              </a:rPr>
              <a:t>Early involvement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4000" dirty="0">
                <a:solidFill>
                  <a:schemeClr val="accent1"/>
                </a:solidFill>
                <a:latin typeface="+mj-lt"/>
              </a:rPr>
              <a:t>Data &amp; event analysed modeling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4000" dirty="0">
                <a:solidFill>
                  <a:srgbClr val="FFFF00"/>
                </a:solidFill>
                <a:latin typeface="+mj-lt"/>
              </a:rPr>
              <a:t>Return of invest prognose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4000" dirty="0">
                <a:solidFill>
                  <a:srgbClr val="FFFF00"/>
                </a:solidFill>
                <a:latin typeface="+mj-lt"/>
              </a:rPr>
              <a:t>Total cost of ownership analyse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4000" dirty="0">
                <a:solidFill>
                  <a:srgbClr val="FFFF00"/>
                </a:solidFill>
                <a:latin typeface="+mj-lt"/>
              </a:rPr>
              <a:t>Maintenance analyse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4000" dirty="0">
                <a:solidFill>
                  <a:srgbClr val="FFFF00"/>
                </a:solidFill>
                <a:latin typeface="+mj-lt"/>
              </a:rPr>
              <a:t>Overall equipment effectivenes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4000" dirty="0">
                <a:solidFill>
                  <a:srgbClr val="FFFF00"/>
                </a:solidFill>
                <a:latin typeface="+mj-lt"/>
              </a:rPr>
              <a:t>Brand independent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en-GB" sz="4400" dirty="0">
              <a:solidFill>
                <a:srgbClr val="FFFF00"/>
              </a:solidFill>
              <a:latin typeface="+mj-lt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endParaRPr lang="en-GB" sz="4400" dirty="0">
              <a:solidFill>
                <a:srgbClr val="FFFF00"/>
              </a:solidFill>
              <a:latin typeface="+mj-lt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endParaRPr lang="en-GB" sz="4400" dirty="0">
              <a:solidFill>
                <a:srgbClr val="FFFF00"/>
              </a:solidFill>
              <a:latin typeface="+mj-lt"/>
            </a:endParaRPr>
          </a:p>
        </p:txBody>
      </p:sp>
      <p:sp>
        <p:nvSpPr>
          <p:cNvPr id="5" name="Rechthoek: afgeronde hoeken 4">
            <a:extLst>
              <a:ext uri="{FF2B5EF4-FFF2-40B4-BE49-F238E27FC236}">
                <a16:creationId xmlns:a16="http://schemas.microsoft.com/office/drawing/2014/main" id="{D5F4819D-6D36-B0C9-1ACB-E95D8E2E1AC7}"/>
              </a:ext>
            </a:extLst>
          </p:cNvPr>
          <p:cNvSpPr/>
          <p:nvPr/>
        </p:nvSpPr>
        <p:spPr>
          <a:xfrm>
            <a:off x="1159329" y="2416629"/>
            <a:ext cx="4294414" cy="653142"/>
          </a:xfrm>
          <a:prstGeom prst="roundRect">
            <a:avLst/>
          </a:prstGeom>
          <a:noFill/>
          <a:ln w="317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470112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 descr="A group of people sitting around a table&#10;&#10;Description automatically generated">
            <a:extLst>
              <a:ext uri="{FF2B5EF4-FFF2-40B4-BE49-F238E27FC236}">
                <a16:creationId xmlns:a16="http://schemas.microsoft.com/office/drawing/2014/main" id="{C289328B-17B5-65CF-DB81-2390FE5AFCB8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090" b="22090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4955662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Afbeelding 6">
            <a:extLst>
              <a:ext uri="{FF2B5EF4-FFF2-40B4-BE49-F238E27FC236}">
                <a16:creationId xmlns:a16="http://schemas.microsoft.com/office/drawing/2014/main" id="{91519D40-4CFE-ADE7-291A-4F721D9A7E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8" name="AutoShape 3">
            <a:extLst>
              <a:ext uri="{FF2B5EF4-FFF2-40B4-BE49-F238E27FC236}">
                <a16:creationId xmlns:a16="http://schemas.microsoft.com/office/drawing/2014/main" id="{EA058672-9313-F60C-1800-64FE5993511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5233988" y="493348"/>
            <a:ext cx="6875462" cy="6364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6" name="Tekstvak 25">
            <a:extLst>
              <a:ext uri="{FF2B5EF4-FFF2-40B4-BE49-F238E27FC236}">
                <a16:creationId xmlns:a16="http://schemas.microsoft.com/office/drawing/2014/main" id="{4AC6FC02-EF22-5779-60B0-8A92F0F076C9}"/>
              </a:ext>
            </a:extLst>
          </p:cNvPr>
          <p:cNvSpPr txBox="1"/>
          <p:nvPr/>
        </p:nvSpPr>
        <p:spPr>
          <a:xfrm>
            <a:off x="391824" y="420553"/>
            <a:ext cx="10647654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endParaRPr lang="en-GB" sz="1200" b="0" i="0" u="none" strike="noStrike" baseline="0" dirty="0">
              <a:solidFill>
                <a:srgbClr val="000000"/>
              </a:solidFill>
              <a:latin typeface="Grandview Light"/>
            </a:endParaRPr>
          </a:p>
          <a:p>
            <a:r>
              <a:rPr lang="en-GB" sz="1200" b="1" i="0" u="none" strike="noStrike" baseline="0" dirty="0">
                <a:solidFill>
                  <a:srgbClr val="000000"/>
                </a:solidFill>
                <a:latin typeface="Grandview Light"/>
              </a:rPr>
              <a:t> </a:t>
            </a:r>
            <a:r>
              <a:rPr lang="en-GB" sz="4400" i="0" u="none" strike="noStrike" baseline="0" dirty="0">
                <a:solidFill>
                  <a:srgbClr val="FFFF00"/>
                </a:solidFill>
                <a:latin typeface="+mj-lt"/>
              </a:rPr>
              <a:t>Early involvement</a:t>
            </a:r>
            <a:endParaRPr lang="en-GB" sz="4400" dirty="0">
              <a:solidFill>
                <a:srgbClr val="FFFF00"/>
              </a:solidFill>
              <a:latin typeface="+mj-lt"/>
            </a:endParaRPr>
          </a:p>
        </p:txBody>
      </p:sp>
      <p:pic>
        <p:nvPicPr>
          <p:cNvPr id="2052" name="Picture 4" descr="CADMATIC Electrical – Electrical Design Software – Cadmatic">
            <a:extLst>
              <a:ext uri="{FF2B5EF4-FFF2-40B4-BE49-F238E27FC236}">
                <a16:creationId xmlns:a16="http://schemas.microsoft.com/office/drawing/2014/main" id="{1B251BF8-B876-BC9B-AB11-0252B62CB4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1587" y="1795213"/>
            <a:ext cx="9655277" cy="3624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5513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Afbeelding 6">
            <a:extLst>
              <a:ext uri="{FF2B5EF4-FFF2-40B4-BE49-F238E27FC236}">
                <a16:creationId xmlns:a16="http://schemas.microsoft.com/office/drawing/2014/main" id="{91519D40-4CFE-ADE7-291A-4F721D9A7E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60074"/>
            <a:ext cx="12192000" cy="5897926"/>
          </a:xfrm>
          <a:prstGeom prst="rect">
            <a:avLst/>
          </a:prstGeom>
        </p:spPr>
      </p:pic>
      <p:sp>
        <p:nvSpPr>
          <p:cNvPr id="18" name="AutoShape 3">
            <a:extLst>
              <a:ext uri="{FF2B5EF4-FFF2-40B4-BE49-F238E27FC236}">
                <a16:creationId xmlns:a16="http://schemas.microsoft.com/office/drawing/2014/main" id="{EA058672-9313-F60C-1800-64FE5993511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5233988" y="493348"/>
            <a:ext cx="6875462" cy="6364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6" name="Tekstvak 25">
            <a:extLst>
              <a:ext uri="{FF2B5EF4-FFF2-40B4-BE49-F238E27FC236}">
                <a16:creationId xmlns:a16="http://schemas.microsoft.com/office/drawing/2014/main" id="{4AC6FC02-EF22-5779-60B0-8A92F0F076C9}"/>
              </a:ext>
            </a:extLst>
          </p:cNvPr>
          <p:cNvSpPr txBox="1"/>
          <p:nvPr/>
        </p:nvSpPr>
        <p:spPr>
          <a:xfrm>
            <a:off x="542468" y="1049881"/>
            <a:ext cx="10647654" cy="77867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endParaRPr lang="en-GB" sz="1200" b="0" i="0" u="none" strike="noStrike" baseline="0" dirty="0">
              <a:solidFill>
                <a:srgbClr val="000000"/>
              </a:solidFill>
              <a:latin typeface="Grandview Light"/>
            </a:endParaRPr>
          </a:p>
          <a:p>
            <a:r>
              <a:rPr lang="en-GB" sz="1200" b="1" i="0" u="none" strike="noStrike" baseline="0" dirty="0">
                <a:solidFill>
                  <a:srgbClr val="000000"/>
                </a:solidFill>
                <a:latin typeface="Grandview Light"/>
              </a:rPr>
              <a:t> </a:t>
            </a:r>
            <a:r>
              <a:rPr lang="en-GB" sz="4400" i="0" u="none" strike="noStrike" baseline="0" dirty="0">
                <a:solidFill>
                  <a:srgbClr val="FFFF00"/>
                </a:solidFill>
                <a:latin typeface="+mj-lt"/>
              </a:rPr>
              <a:t>CONSULTANCY</a:t>
            </a:r>
          </a:p>
          <a:p>
            <a:endParaRPr lang="en-GB" sz="3200" i="0" u="none" strike="noStrike" baseline="0" dirty="0">
              <a:solidFill>
                <a:srgbClr val="FFFF00"/>
              </a:solidFill>
              <a:latin typeface="+mj-lt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4000" dirty="0">
                <a:solidFill>
                  <a:schemeClr val="accent1"/>
                </a:solidFill>
                <a:latin typeface="+mj-lt"/>
              </a:rPr>
              <a:t>Early involvement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4000" dirty="0">
                <a:solidFill>
                  <a:schemeClr val="accent1"/>
                </a:solidFill>
                <a:latin typeface="+mj-lt"/>
              </a:rPr>
              <a:t>Data &amp; event analysed modeling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4000" dirty="0">
                <a:solidFill>
                  <a:srgbClr val="FFFF00"/>
                </a:solidFill>
                <a:latin typeface="+mj-lt"/>
              </a:rPr>
              <a:t>Return of invest prognose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4000" dirty="0">
                <a:solidFill>
                  <a:srgbClr val="FFFF00"/>
                </a:solidFill>
                <a:latin typeface="+mj-lt"/>
              </a:rPr>
              <a:t>Total cost of ownership analyse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4000" dirty="0">
                <a:solidFill>
                  <a:srgbClr val="FFFF00"/>
                </a:solidFill>
                <a:latin typeface="+mj-lt"/>
              </a:rPr>
              <a:t>Maintenance analyse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4000" dirty="0">
                <a:solidFill>
                  <a:srgbClr val="FFFF00"/>
                </a:solidFill>
                <a:latin typeface="+mj-lt"/>
              </a:rPr>
              <a:t>Overall equipment effectivenes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4000" dirty="0">
                <a:solidFill>
                  <a:srgbClr val="FFFF00"/>
                </a:solidFill>
                <a:latin typeface="+mj-lt"/>
              </a:rPr>
              <a:t>Brand independent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en-GB" sz="4400" dirty="0">
              <a:solidFill>
                <a:srgbClr val="FFFF00"/>
              </a:solidFill>
              <a:latin typeface="+mj-lt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endParaRPr lang="en-GB" sz="4400" dirty="0">
              <a:solidFill>
                <a:srgbClr val="FFFF00"/>
              </a:solidFill>
              <a:latin typeface="+mj-lt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endParaRPr lang="en-GB" sz="4400" dirty="0">
              <a:solidFill>
                <a:srgbClr val="FFFF00"/>
              </a:solidFill>
              <a:latin typeface="+mj-lt"/>
            </a:endParaRPr>
          </a:p>
        </p:txBody>
      </p:sp>
      <p:sp>
        <p:nvSpPr>
          <p:cNvPr id="2" name="Rechthoek: afgeronde hoeken 1">
            <a:extLst>
              <a:ext uri="{FF2B5EF4-FFF2-40B4-BE49-F238E27FC236}">
                <a16:creationId xmlns:a16="http://schemas.microsoft.com/office/drawing/2014/main" id="{84E62D60-15B4-7024-24FD-365E16F76F25}"/>
              </a:ext>
            </a:extLst>
          </p:cNvPr>
          <p:cNvSpPr/>
          <p:nvPr/>
        </p:nvSpPr>
        <p:spPr>
          <a:xfrm>
            <a:off x="1100335" y="3022531"/>
            <a:ext cx="7768362" cy="653142"/>
          </a:xfrm>
          <a:prstGeom prst="roundRect">
            <a:avLst/>
          </a:prstGeom>
          <a:noFill/>
          <a:ln w="317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8719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Afbeelding 6">
            <a:extLst>
              <a:ext uri="{FF2B5EF4-FFF2-40B4-BE49-F238E27FC236}">
                <a16:creationId xmlns:a16="http://schemas.microsoft.com/office/drawing/2014/main" id="{91519D40-4CFE-ADE7-291A-4F721D9A7E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8" name="AutoShape 3">
            <a:extLst>
              <a:ext uri="{FF2B5EF4-FFF2-40B4-BE49-F238E27FC236}">
                <a16:creationId xmlns:a16="http://schemas.microsoft.com/office/drawing/2014/main" id="{EA058672-9313-F60C-1800-64FE5993511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5233988" y="493348"/>
            <a:ext cx="6875462" cy="6364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6" name="Tekstvak 25">
            <a:extLst>
              <a:ext uri="{FF2B5EF4-FFF2-40B4-BE49-F238E27FC236}">
                <a16:creationId xmlns:a16="http://schemas.microsoft.com/office/drawing/2014/main" id="{4AC6FC02-EF22-5779-60B0-8A92F0F076C9}"/>
              </a:ext>
            </a:extLst>
          </p:cNvPr>
          <p:cNvSpPr txBox="1"/>
          <p:nvPr/>
        </p:nvSpPr>
        <p:spPr>
          <a:xfrm>
            <a:off x="391824" y="420553"/>
            <a:ext cx="10647654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endParaRPr lang="en-GB" sz="1200" b="0" i="0" u="none" strike="noStrike" baseline="0" dirty="0">
              <a:solidFill>
                <a:srgbClr val="000000"/>
              </a:solidFill>
              <a:latin typeface="Grandview Light"/>
            </a:endParaRPr>
          </a:p>
          <a:p>
            <a:r>
              <a:rPr lang="en-GB" sz="1200" b="1" i="0" u="none" strike="noStrike" baseline="0" dirty="0">
                <a:solidFill>
                  <a:srgbClr val="000000"/>
                </a:solidFill>
                <a:latin typeface="Grandview Light"/>
              </a:rPr>
              <a:t> </a:t>
            </a:r>
            <a:r>
              <a:rPr lang="en-GB" sz="4400" i="0" u="none" strike="noStrike" baseline="0" dirty="0">
                <a:solidFill>
                  <a:srgbClr val="FFFF00"/>
                </a:solidFill>
                <a:latin typeface="+mj-lt"/>
              </a:rPr>
              <a:t>Data &amp; event analysed modeling</a:t>
            </a:r>
            <a:endParaRPr lang="en-GB" sz="4400" dirty="0">
              <a:solidFill>
                <a:srgbClr val="FFFF00"/>
              </a:solidFill>
              <a:latin typeface="+mj-lt"/>
            </a:endParaRPr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E9657D23-BB74-3912-B81E-1374CB19DC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9863" y="1761297"/>
            <a:ext cx="9251323" cy="4710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50525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Afbeelding 6">
            <a:extLst>
              <a:ext uri="{FF2B5EF4-FFF2-40B4-BE49-F238E27FC236}">
                <a16:creationId xmlns:a16="http://schemas.microsoft.com/office/drawing/2014/main" id="{91519D40-4CFE-ADE7-291A-4F721D9A7E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60074"/>
            <a:ext cx="12192000" cy="5897926"/>
          </a:xfrm>
          <a:prstGeom prst="rect">
            <a:avLst/>
          </a:prstGeom>
        </p:spPr>
      </p:pic>
      <p:sp>
        <p:nvSpPr>
          <p:cNvPr id="18" name="AutoShape 3">
            <a:extLst>
              <a:ext uri="{FF2B5EF4-FFF2-40B4-BE49-F238E27FC236}">
                <a16:creationId xmlns:a16="http://schemas.microsoft.com/office/drawing/2014/main" id="{EA058672-9313-F60C-1800-64FE5993511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5233988" y="493348"/>
            <a:ext cx="6875462" cy="6364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6" name="Tekstvak 25">
            <a:extLst>
              <a:ext uri="{FF2B5EF4-FFF2-40B4-BE49-F238E27FC236}">
                <a16:creationId xmlns:a16="http://schemas.microsoft.com/office/drawing/2014/main" id="{4AC6FC02-EF22-5779-60B0-8A92F0F076C9}"/>
              </a:ext>
            </a:extLst>
          </p:cNvPr>
          <p:cNvSpPr txBox="1"/>
          <p:nvPr/>
        </p:nvSpPr>
        <p:spPr>
          <a:xfrm>
            <a:off x="542468" y="1049881"/>
            <a:ext cx="10647654" cy="77867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endParaRPr lang="en-GB" sz="1200" b="0" i="0" u="none" strike="noStrike" baseline="0" dirty="0">
              <a:solidFill>
                <a:srgbClr val="000000"/>
              </a:solidFill>
              <a:latin typeface="Grandview Light"/>
            </a:endParaRPr>
          </a:p>
          <a:p>
            <a:r>
              <a:rPr lang="en-GB" sz="1200" b="1" i="0" u="none" strike="noStrike" baseline="0" dirty="0">
                <a:solidFill>
                  <a:srgbClr val="000000"/>
                </a:solidFill>
                <a:latin typeface="Grandview Light"/>
              </a:rPr>
              <a:t> </a:t>
            </a:r>
            <a:r>
              <a:rPr lang="en-GB" sz="4400" i="0" u="none" strike="noStrike" baseline="0" dirty="0">
                <a:solidFill>
                  <a:srgbClr val="FFFF00"/>
                </a:solidFill>
                <a:latin typeface="+mj-lt"/>
              </a:rPr>
              <a:t>CONSULTANCY</a:t>
            </a:r>
          </a:p>
          <a:p>
            <a:endParaRPr lang="en-GB" sz="3200" i="0" u="none" strike="noStrike" baseline="0" dirty="0">
              <a:solidFill>
                <a:srgbClr val="FFFF00"/>
              </a:solidFill>
              <a:latin typeface="+mj-lt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4000" dirty="0">
                <a:solidFill>
                  <a:schemeClr val="accent1"/>
                </a:solidFill>
                <a:latin typeface="+mj-lt"/>
              </a:rPr>
              <a:t>Early involvement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4000" dirty="0">
                <a:solidFill>
                  <a:schemeClr val="accent1"/>
                </a:solidFill>
                <a:latin typeface="+mj-lt"/>
              </a:rPr>
              <a:t>Data &amp; event analysed modeling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4000" dirty="0">
                <a:solidFill>
                  <a:srgbClr val="FFFF00"/>
                </a:solidFill>
                <a:latin typeface="+mj-lt"/>
              </a:rPr>
              <a:t>Return of invest prognose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4000" dirty="0">
                <a:solidFill>
                  <a:srgbClr val="FFFF00"/>
                </a:solidFill>
                <a:latin typeface="+mj-lt"/>
              </a:rPr>
              <a:t>Total cost of ownership analyse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4000" dirty="0">
                <a:solidFill>
                  <a:srgbClr val="FFFF00"/>
                </a:solidFill>
                <a:latin typeface="+mj-lt"/>
              </a:rPr>
              <a:t>Maintenance analyse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4000" dirty="0">
                <a:solidFill>
                  <a:srgbClr val="FFFF00"/>
                </a:solidFill>
                <a:latin typeface="+mj-lt"/>
              </a:rPr>
              <a:t>Overall equipment effectivenes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4000" dirty="0">
                <a:solidFill>
                  <a:srgbClr val="FFFF00"/>
                </a:solidFill>
                <a:latin typeface="+mj-lt"/>
              </a:rPr>
              <a:t>Brand independent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en-GB" sz="4400" dirty="0">
              <a:solidFill>
                <a:srgbClr val="FFFF00"/>
              </a:solidFill>
              <a:latin typeface="+mj-lt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endParaRPr lang="en-GB" sz="4400" dirty="0">
              <a:solidFill>
                <a:srgbClr val="FFFF00"/>
              </a:solidFill>
              <a:latin typeface="+mj-lt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endParaRPr lang="en-GB" sz="4400" dirty="0">
              <a:solidFill>
                <a:srgbClr val="FFFF00"/>
              </a:solidFill>
              <a:latin typeface="+mj-lt"/>
            </a:endParaRPr>
          </a:p>
        </p:txBody>
      </p:sp>
      <p:sp>
        <p:nvSpPr>
          <p:cNvPr id="2" name="Rechthoek: afgeronde hoeken 1">
            <a:extLst>
              <a:ext uri="{FF2B5EF4-FFF2-40B4-BE49-F238E27FC236}">
                <a16:creationId xmlns:a16="http://schemas.microsoft.com/office/drawing/2014/main" id="{84E62D60-15B4-7024-24FD-365E16F76F25}"/>
              </a:ext>
            </a:extLst>
          </p:cNvPr>
          <p:cNvSpPr/>
          <p:nvPr/>
        </p:nvSpPr>
        <p:spPr>
          <a:xfrm>
            <a:off x="999121" y="3675673"/>
            <a:ext cx="7768362" cy="653142"/>
          </a:xfrm>
          <a:prstGeom prst="roundRect">
            <a:avLst/>
          </a:prstGeom>
          <a:noFill/>
          <a:ln w="317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222244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Afbeelding 6">
            <a:extLst>
              <a:ext uri="{FF2B5EF4-FFF2-40B4-BE49-F238E27FC236}">
                <a16:creationId xmlns:a16="http://schemas.microsoft.com/office/drawing/2014/main" id="{91519D40-4CFE-ADE7-291A-4F721D9A7E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8" name="AutoShape 3">
            <a:extLst>
              <a:ext uri="{FF2B5EF4-FFF2-40B4-BE49-F238E27FC236}">
                <a16:creationId xmlns:a16="http://schemas.microsoft.com/office/drawing/2014/main" id="{EA058672-9313-F60C-1800-64FE5993511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5233988" y="493348"/>
            <a:ext cx="6875462" cy="6364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6" name="Tekstvak 25">
            <a:extLst>
              <a:ext uri="{FF2B5EF4-FFF2-40B4-BE49-F238E27FC236}">
                <a16:creationId xmlns:a16="http://schemas.microsoft.com/office/drawing/2014/main" id="{4AC6FC02-EF22-5779-60B0-8A92F0F076C9}"/>
              </a:ext>
            </a:extLst>
          </p:cNvPr>
          <p:cNvSpPr txBox="1"/>
          <p:nvPr/>
        </p:nvSpPr>
        <p:spPr>
          <a:xfrm>
            <a:off x="391824" y="420553"/>
            <a:ext cx="10647654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endParaRPr lang="en-GB" sz="1200" b="0" i="0" u="none" strike="noStrike" baseline="0" dirty="0">
              <a:solidFill>
                <a:srgbClr val="000000"/>
              </a:solidFill>
              <a:latin typeface="Grandview Light"/>
            </a:endParaRPr>
          </a:p>
          <a:p>
            <a:r>
              <a:rPr lang="en-GB" sz="1200" b="1" i="0" u="none" strike="noStrike" baseline="0" dirty="0">
                <a:solidFill>
                  <a:srgbClr val="000000"/>
                </a:solidFill>
                <a:latin typeface="Grandview Light"/>
              </a:rPr>
              <a:t> </a:t>
            </a:r>
            <a:r>
              <a:rPr lang="en-GB" sz="4400" b="1" dirty="0">
                <a:solidFill>
                  <a:srgbClr val="FFFF00"/>
                </a:solidFill>
                <a:latin typeface="+mj-lt"/>
              </a:rPr>
              <a:t>Return of invest prognoses</a:t>
            </a:r>
            <a:endParaRPr lang="en-GB" sz="4400" dirty="0">
              <a:solidFill>
                <a:srgbClr val="FFFF00"/>
              </a:solidFill>
              <a:latin typeface="+mj-lt"/>
            </a:endParaRPr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4314BAC1-9303-0580-B987-6CD1276CE9D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69850" y="1986615"/>
            <a:ext cx="7659052" cy="4039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78909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Afbeelding 6">
            <a:extLst>
              <a:ext uri="{FF2B5EF4-FFF2-40B4-BE49-F238E27FC236}">
                <a16:creationId xmlns:a16="http://schemas.microsoft.com/office/drawing/2014/main" id="{91519D40-4CFE-ADE7-291A-4F721D9A7E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60074"/>
            <a:ext cx="12192000" cy="5897926"/>
          </a:xfrm>
          <a:prstGeom prst="rect">
            <a:avLst/>
          </a:prstGeom>
        </p:spPr>
      </p:pic>
      <p:sp>
        <p:nvSpPr>
          <p:cNvPr id="18" name="AutoShape 3">
            <a:extLst>
              <a:ext uri="{FF2B5EF4-FFF2-40B4-BE49-F238E27FC236}">
                <a16:creationId xmlns:a16="http://schemas.microsoft.com/office/drawing/2014/main" id="{EA058672-9313-F60C-1800-64FE5993511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5233988" y="493348"/>
            <a:ext cx="6875462" cy="6364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6" name="Tekstvak 25">
            <a:extLst>
              <a:ext uri="{FF2B5EF4-FFF2-40B4-BE49-F238E27FC236}">
                <a16:creationId xmlns:a16="http://schemas.microsoft.com/office/drawing/2014/main" id="{4AC6FC02-EF22-5779-60B0-8A92F0F076C9}"/>
              </a:ext>
            </a:extLst>
          </p:cNvPr>
          <p:cNvSpPr txBox="1"/>
          <p:nvPr/>
        </p:nvSpPr>
        <p:spPr>
          <a:xfrm>
            <a:off x="542468" y="1049881"/>
            <a:ext cx="10647654" cy="77867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endParaRPr lang="en-GB" sz="1200" b="0" i="0" u="none" strike="noStrike" baseline="0" dirty="0">
              <a:solidFill>
                <a:srgbClr val="000000"/>
              </a:solidFill>
              <a:latin typeface="Grandview Light"/>
            </a:endParaRPr>
          </a:p>
          <a:p>
            <a:r>
              <a:rPr lang="en-GB" sz="1200" b="1" i="0" u="none" strike="noStrike" baseline="0" dirty="0">
                <a:solidFill>
                  <a:srgbClr val="000000"/>
                </a:solidFill>
                <a:latin typeface="Grandview Light"/>
              </a:rPr>
              <a:t> </a:t>
            </a:r>
            <a:r>
              <a:rPr lang="en-GB" sz="4400" i="0" u="none" strike="noStrike" baseline="0" dirty="0">
                <a:solidFill>
                  <a:srgbClr val="FFFF00"/>
                </a:solidFill>
                <a:latin typeface="+mj-lt"/>
              </a:rPr>
              <a:t>CONSULTANCY</a:t>
            </a:r>
          </a:p>
          <a:p>
            <a:endParaRPr lang="en-GB" sz="3200" i="0" u="none" strike="noStrike" baseline="0" dirty="0">
              <a:solidFill>
                <a:srgbClr val="FFFF00"/>
              </a:solidFill>
              <a:latin typeface="+mj-lt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4000" dirty="0">
                <a:solidFill>
                  <a:schemeClr val="accent1"/>
                </a:solidFill>
                <a:latin typeface="+mj-lt"/>
              </a:rPr>
              <a:t>Early involvement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4000" dirty="0">
                <a:solidFill>
                  <a:schemeClr val="accent1"/>
                </a:solidFill>
                <a:latin typeface="+mj-lt"/>
              </a:rPr>
              <a:t>Data &amp; event analysed modeling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4000" dirty="0">
                <a:solidFill>
                  <a:srgbClr val="FFFF00"/>
                </a:solidFill>
                <a:latin typeface="+mj-lt"/>
              </a:rPr>
              <a:t>Return of invest prognose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4000" dirty="0">
                <a:solidFill>
                  <a:srgbClr val="FFFF00"/>
                </a:solidFill>
                <a:latin typeface="+mj-lt"/>
              </a:rPr>
              <a:t>Total cost of ownership analyse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4000" dirty="0">
                <a:solidFill>
                  <a:srgbClr val="FFFF00"/>
                </a:solidFill>
                <a:latin typeface="+mj-lt"/>
              </a:rPr>
              <a:t>Maintenance analyse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4000" dirty="0">
                <a:solidFill>
                  <a:srgbClr val="FFFF00"/>
                </a:solidFill>
                <a:latin typeface="+mj-lt"/>
              </a:rPr>
              <a:t>Overall equipment effectivenes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4000" dirty="0">
                <a:solidFill>
                  <a:srgbClr val="FFFF00"/>
                </a:solidFill>
                <a:latin typeface="+mj-lt"/>
              </a:rPr>
              <a:t>Brand independent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en-GB" sz="4400" dirty="0">
              <a:solidFill>
                <a:srgbClr val="FFFF00"/>
              </a:solidFill>
              <a:latin typeface="+mj-lt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endParaRPr lang="en-GB" sz="4400" dirty="0">
              <a:solidFill>
                <a:srgbClr val="FFFF00"/>
              </a:solidFill>
              <a:latin typeface="+mj-lt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endParaRPr lang="en-GB" sz="4400" dirty="0">
              <a:solidFill>
                <a:srgbClr val="FFFF00"/>
              </a:solidFill>
              <a:latin typeface="+mj-lt"/>
            </a:endParaRPr>
          </a:p>
        </p:txBody>
      </p:sp>
      <p:sp>
        <p:nvSpPr>
          <p:cNvPr id="2" name="Rechthoek: afgeronde hoeken 1">
            <a:extLst>
              <a:ext uri="{FF2B5EF4-FFF2-40B4-BE49-F238E27FC236}">
                <a16:creationId xmlns:a16="http://schemas.microsoft.com/office/drawing/2014/main" id="{84E62D60-15B4-7024-24FD-365E16F76F25}"/>
              </a:ext>
            </a:extLst>
          </p:cNvPr>
          <p:cNvSpPr/>
          <p:nvPr/>
        </p:nvSpPr>
        <p:spPr>
          <a:xfrm>
            <a:off x="1040396" y="4290112"/>
            <a:ext cx="7768362" cy="653142"/>
          </a:xfrm>
          <a:prstGeom prst="roundRect">
            <a:avLst/>
          </a:prstGeom>
          <a:noFill/>
          <a:ln w="317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100616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Afbeelding 6">
            <a:extLst>
              <a:ext uri="{FF2B5EF4-FFF2-40B4-BE49-F238E27FC236}">
                <a16:creationId xmlns:a16="http://schemas.microsoft.com/office/drawing/2014/main" id="{91519D40-4CFE-ADE7-291A-4F721D9A7E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8" name="AutoShape 3">
            <a:extLst>
              <a:ext uri="{FF2B5EF4-FFF2-40B4-BE49-F238E27FC236}">
                <a16:creationId xmlns:a16="http://schemas.microsoft.com/office/drawing/2014/main" id="{EA058672-9313-F60C-1800-64FE5993511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5233988" y="493348"/>
            <a:ext cx="6875462" cy="6364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6" name="Tekstvak 25">
            <a:extLst>
              <a:ext uri="{FF2B5EF4-FFF2-40B4-BE49-F238E27FC236}">
                <a16:creationId xmlns:a16="http://schemas.microsoft.com/office/drawing/2014/main" id="{4AC6FC02-EF22-5779-60B0-8A92F0F076C9}"/>
              </a:ext>
            </a:extLst>
          </p:cNvPr>
          <p:cNvSpPr txBox="1"/>
          <p:nvPr/>
        </p:nvSpPr>
        <p:spPr>
          <a:xfrm>
            <a:off x="391824" y="420553"/>
            <a:ext cx="10647654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endParaRPr lang="en-GB" sz="1200" b="0" i="0" u="none" strike="noStrike" baseline="0" dirty="0">
              <a:solidFill>
                <a:srgbClr val="000000"/>
              </a:solidFill>
              <a:latin typeface="Grandview Light"/>
            </a:endParaRPr>
          </a:p>
          <a:p>
            <a:r>
              <a:rPr lang="en-GB" sz="1200" b="1" i="0" u="none" strike="noStrike" baseline="0" dirty="0">
                <a:solidFill>
                  <a:srgbClr val="000000"/>
                </a:solidFill>
                <a:latin typeface="Grandview Light"/>
              </a:rPr>
              <a:t> </a:t>
            </a:r>
            <a:r>
              <a:rPr lang="en-GB" sz="4400" b="1" i="0" u="none" strike="noStrike" baseline="0" dirty="0">
                <a:solidFill>
                  <a:srgbClr val="FFFF00"/>
                </a:solidFill>
                <a:latin typeface="+mj-lt"/>
              </a:rPr>
              <a:t>Total cost</a:t>
            </a:r>
            <a:r>
              <a:rPr lang="en-GB" sz="4400" b="1" dirty="0">
                <a:solidFill>
                  <a:srgbClr val="FFFF00"/>
                </a:solidFill>
                <a:latin typeface="+mj-lt"/>
              </a:rPr>
              <a:t> of ownership </a:t>
            </a:r>
            <a:r>
              <a:rPr lang="en-GB" sz="4400" b="1" dirty="0" err="1">
                <a:solidFill>
                  <a:srgbClr val="FFFF00"/>
                </a:solidFill>
                <a:latin typeface="+mj-lt"/>
              </a:rPr>
              <a:t>i.c.w</a:t>
            </a:r>
            <a:r>
              <a:rPr lang="en-GB" sz="4400" b="1" dirty="0">
                <a:solidFill>
                  <a:srgbClr val="FFFF00"/>
                </a:solidFill>
                <a:latin typeface="+mj-lt"/>
              </a:rPr>
              <a:t>. ROI</a:t>
            </a:r>
            <a:endParaRPr lang="en-GB" sz="4400" dirty="0">
              <a:solidFill>
                <a:srgbClr val="FFFF00"/>
              </a:solidFill>
              <a:latin typeface="+mj-lt"/>
            </a:endParaRPr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BE932694-18AC-0E99-4F58-5B30F6E7A8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94812" y="2222652"/>
            <a:ext cx="9357976" cy="3787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48310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nbj.wWR0i011.JqGL1v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nbj.wWR0i011.JqGL1v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nbj.wWR0i011.JqGL1v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nbj.wWR0i011.JqGL1vw"/>
</p:tagLst>
</file>

<file path=ppt/theme/theme1.xml><?xml version="1.0" encoding="utf-8"?>
<a:theme xmlns:a="http://schemas.openxmlformats.org/drawingml/2006/main" name="Alewijnse Blue">
  <a:themeElements>
    <a:clrScheme name="Alewijnse">
      <a:dk1>
        <a:sysClr val="windowText" lastClr="000000"/>
      </a:dk1>
      <a:lt1>
        <a:sysClr val="window" lastClr="FFFFFF"/>
      </a:lt1>
      <a:dk2>
        <a:srgbClr val="000000"/>
      </a:dk2>
      <a:lt2>
        <a:srgbClr val="FCEA10"/>
      </a:lt2>
      <a:accent1>
        <a:srgbClr val="2F4D9C"/>
      </a:accent1>
      <a:accent2>
        <a:srgbClr val="00C68A"/>
      </a:accent2>
      <a:accent3>
        <a:srgbClr val="E83F76"/>
      </a:accent3>
      <a:accent4>
        <a:srgbClr val="ACB8D7"/>
      </a:accent4>
      <a:accent5>
        <a:srgbClr val="99E8D0"/>
      </a:accent5>
      <a:accent6>
        <a:srgbClr val="F6B2C8"/>
      </a:accent6>
      <a:hlink>
        <a:srgbClr val="000000"/>
      </a:hlink>
      <a:folHlink>
        <a:srgbClr val="000000"/>
      </a:folHlink>
    </a:clrScheme>
    <a:fontScheme name="Alewijnse">
      <a:majorFont>
        <a:latin typeface="Grandview"/>
        <a:ea typeface=""/>
        <a:cs typeface=""/>
      </a:majorFont>
      <a:minorFont>
        <a:latin typeface="Grandview"/>
        <a:ea typeface=""/>
        <a:cs typeface=""/>
      </a:minorFont>
    </a:fontScheme>
    <a:fmtScheme name="Subtiel effen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72000" rIns="72000" bIns="72000"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lewijnse PPT template.potx" id="{B61FA39C-24B8-401D-B91C-343905F9DE32}" vid="{BC0524DC-2F06-4CEB-8037-FC2300513213}"/>
    </a:ext>
  </a:extLst>
</a:theme>
</file>

<file path=ppt/theme/theme2.xml><?xml version="1.0" encoding="utf-8"?>
<a:theme xmlns:a="http://schemas.openxmlformats.org/drawingml/2006/main" name="Alewijnse Red">
  <a:themeElements>
    <a:clrScheme name="Alewijnse">
      <a:dk1>
        <a:sysClr val="windowText" lastClr="000000"/>
      </a:dk1>
      <a:lt1>
        <a:sysClr val="window" lastClr="FFFFFF"/>
      </a:lt1>
      <a:dk2>
        <a:srgbClr val="000000"/>
      </a:dk2>
      <a:lt2>
        <a:srgbClr val="FCEA10"/>
      </a:lt2>
      <a:accent1>
        <a:srgbClr val="2F4D9C"/>
      </a:accent1>
      <a:accent2>
        <a:srgbClr val="00C68A"/>
      </a:accent2>
      <a:accent3>
        <a:srgbClr val="E83F76"/>
      </a:accent3>
      <a:accent4>
        <a:srgbClr val="ACB8D7"/>
      </a:accent4>
      <a:accent5>
        <a:srgbClr val="99E8D0"/>
      </a:accent5>
      <a:accent6>
        <a:srgbClr val="F6B2C8"/>
      </a:accent6>
      <a:hlink>
        <a:srgbClr val="000000"/>
      </a:hlink>
      <a:folHlink>
        <a:srgbClr val="000000"/>
      </a:folHlink>
    </a:clrScheme>
    <a:fontScheme name="Alewijnse">
      <a:majorFont>
        <a:latin typeface="Grandview"/>
        <a:ea typeface=""/>
        <a:cs typeface=""/>
      </a:majorFont>
      <a:minorFont>
        <a:latin typeface="Grandview"/>
        <a:ea typeface=""/>
        <a:cs typeface=""/>
      </a:minorFont>
    </a:fontScheme>
    <a:fmtScheme name="Subtiel effen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lIns="72000" tIns="72000" rIns="72000" bIns="72000"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lewijnse PPT template.potx" id="{B61FA39C-24B8-401D-B91C-343905F9DE32}" vid="{67052468-41C4-45A8-B766-DD73297D0E2D}"/>
    </a:ext>
  </a:extLst>
</a:theme>
</file>

<file path=ppt/theme/theme3.xml><?xml version="1.0" encoding="utf-8"?>
<a:theme xmlns:a="http://schemas.openxmlformats.org/drawingml/2006/main" name="Alewijnse Green">
  <a:themeElements>
    <a:clrScheme name="Alewijnse">
      <a:dk1>
        <a:sysClr val="windowText" lastClr="000000"/>
      </a:dk1>
      <a:lt1>
        <a:sysClr val="window" lastClr="FFFFFF"/>
      </a:lt1>
      <a:dk2>
        <a:srgbClr val="000000"/>
      </a:dk2>
      <a:lt2>
        <a:srgbClr val="FCEA10"/>
      </a:lt2>
      <a:accent1>
        <a:srgbClr val="2F4D9C"/>
      </a:accent1>
      <a:accent2>
        <a:srgbClr val="00C68A"/>
      </a:accent2>
      <a:accent3>
        <a:srgbClr val="E83F76"/>
      </a:accent3>
      <a:accent4>
        <a:srgbClr val="ACB8D7"/>
      </a:accent4>
      <a:accent5>
        <a:srgbClr val="99E8D0"/>
      </a:accent5>
      <a:accent6>
        <a:srgbClr val="F6B2C8"/>
      </a:accent6>
      <a:hlink>
        <a:srgbClr val="000000"/>
      </a:hlink>
      <a:folHlink>
        <a:srgbClr val="000000"/>
      </a:folHlink>
    </a:clrScheme>
    <a:fontScheme name="Alewijnse">
      <a:majorFont>
        <a:latin typeface="Grandview"/>
        <a:ea typeface=""/>
        <a:cs typeface=""/>
      </a:majorFont>
      <a:minorFont>
        <a:latin typeface="Grandview"/>
        <a:ea typeface=""/>
        <a:cs typeface=""/>
      </a:minorFont>
    </a:fontScheme>
    <a:fmtScheme name="Subtiel effen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lIns="72000" tIns="72000" rIns="72000" bIns="72000"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lewijnse PPT template.potx" id="{B61FA39C-24B8-401D-B91C-343905F9DE32}" vid="{DEB1CAC6-DD16-4D9D-8B44-C595C6930172}"/>
    </a:ext>
  </a:extLst>
</a:theme>
</file>

<file path=ppt/theme/theme4.xml><?xml version="1.0" encoding="utf-8"?>
<a:theme xmlns:a="http://schemas.openxmlformats.org/drawingml/2006/main" name="Kantoorthema">
  <a:themeElements>
    <a:clrScheme name="Alewijnse">
      <a:dk1>
        <a:sysClr val="windowText" lastClr="000000"/>
      </a:dk1>
      <a:lt1>
        <a:sysClr val="window" lastClr="FFFFFF"/>
      </a:lt1>
      <a:dk2>
        <a:srgbClr val="000000"/>
      </a:dk2>
      <a:lt2>
        <a:srgbClr val="FCEA10"/>
      </a:lt2>
      <a:accent1>
        <a:srgbClr val="2F4D9C"/>
      </a:accent1>
      <a:accent2>
        <a:srgbClr val="00C68A"/>
      </a:accent2>
      <a:accent3>
        <a:srgbClr val="E83F76"/>
      </a:accent3>
      <a:accent4>
        <a:srgbClr val="ACB8D7"/>
      </a:accent4>
      <a:accent5>
        <a:srgbClr val="99E8D0"/>
      </a:accent5>
      <a:accent6>
        <a:srgbClr val="F6B2C8"/>
      </a:accent6>
      <a:hlink>
        <a:srgbClr val="000000"/>
      </a:hlink>
      <a:folHlink>
        <a:srgbClr val="000000"/>
      </a:folHlink>
    </a:clrScheme>
    <a:fontScheme name="Alewijnse">
      <a:majorFont>
        <a:latin typeface="Grandview"/>
        <a:ea typeface=""/>
        <a:cs typeface=""/>
      </a:majorFont>
      <a:minorFont>
        <a:latin typeface="Grandview"/>
        <a:ea typeface=""/>
        <a:cs typeface=""/>
      </a:minorFont>
    </a:fontScheme>
    <a:fmtScheme name="Subtiel effen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Kantoorthema">
  <a:themeElements>
    <a:clrScheme name="Alewijnse">
      <a:dk1>
        <a:sysClr val="windowText" lastClr="000000"/>
      </a:dk1>
      <a:lt1>
        <a:sysClr val="window" lastClr="FFFFFF"/>
      </a:lt1>
      <a:dk2>
        <a:srgbClr val="000000"/>
      </a:dk2>
      <a:lt2>
        <a:srgbClr val="FCEA10"/>
      </a:lt2>
      <a:accent1>
        <a:srgbClr val="2F4D9C"/>
      </a:accent1>
      <a:accent2>
        <a:srgbClr val="00C68A"/>
      </a:accent2>
      <a:accent3>
        <a:srgbClr val="E83F76"/>
      </a:accent3>
      <a:accent4>
        <a:srgbClr val="ACB8D7"/>
      </a:accent4>
      <a:accent5>
        <a:srgbClr val="99E8D0"/>
      </a:accent5>
      <a:accent6>
        <a:srgbClr val="F6B2C8"/>
      </a:accent6>
      <a:hlink>
        <a:srgbClr val="000000"/>
      </a:hlink>
      <a:folHlink>
        <a:srgbClr val="000000"/>
      </a:folHlink>
    </a:clrScheme>
    <a:fontScheme name="Alewijnse">
      <a:majorFont>
        <a:latin typeface="Grandview"/>
        <a:ea typeface=""/>
        <a:cs typeface=""/>
      </a:majorFont>
      <a:minorFont>
        <a:latin typeface="Grandview"/>
        <a:ea typeface=""/>
        <a:cs typeface=""/>
      </a:minorFont>
    </a:fontScheme>
    <a:fmtScheme name="Subtiel effen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ate Alewijnse Presentation</Template>
  <TotalTime>32273</TotalTime>
  <Words>280</Words>
  <Application>Microsoft Office PowerPoint</Application>
  <PresentationFormat>Breedbeeld</PresentationFormat>
  <Paragraphs>113</Paragraphs>
  <Slides>20</Slides>
  <Notes>1</Notes>
  <HiddenSlides>0</HiddenSlides>
  <MMClips>1</MMClips>
  <ScaleCrop>false</ScaleCrop>
  <HeadingPairs>
    <vt:vector size="8" baseType="variant">
      <vt:variant>
        <vt:lpstr>Gebruikte lettertypen</vt:lpstr>
      </vt:variant>
      <vt:variant>
        <vt:i4>4</vt:i4>
      </vt:variant>
      <vt:variant>
        <vt:lpstr>Thema</vt:lpstr>
      </vt:variant>
      <vt:variant>
        <vt:i4>3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20</vt:i4>
      </vt:variant>
    </vt:vector>
  </HeadingPairs>
  <TitlesOfParts>
    <vt:vector size="28" baseType="lpstr">
      <vt:lpstr>Arial</vt:lpstr>
      <vt:lpstr>Grandview</vt:lpstr>
      <vt:lpstr>Grandview Light</vt:lpstr>
      <vt:lpstr>Wingdings</vt:lpstr>
      <vt:lpstr>Alewijnse Blue</vt:lpstr>
      <vt:lpstr>Alewijnse Red</vt:lpstr>
      <vt:lpstr>Alewijnse Green</vt:lpstr>
      <vt:lpstr>think-cell Slide</vt:lpstr>
      <vt:lpstr>Automate The Boring Engineer The Awesom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</vt:vector>
  </TitlesOfParts>
  <Company>Alewijns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osselaar, Matthijs</dc:creator>
  <cp:lastModifiedBy>Savert - Vogel, Eline</cp:lastModifiedBy>
  <cp:revision>16</cp:revision>
  <cp:lastPrinted>2023-11-14T10:37:36Z</cp:lastPrinted>
  <dcterms:created xsi:type="dcterms:W3CDTF">2023-09-14T06:25:14Z</dcterms:created>
  <dcterms:modified xsi:type="dcterms:W3CDTF">2023-11-14T10:37:47Z</dcterms:modified>
</cp:coreProperties>
</file>